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5"/>
  </p:notesMasterIdLst>
  <p:sldIdLst>
    <p:sldId id="1472" r:id="rId2"/>
    <p:sldId id="1473" r:id="rId3"/>
    <p:sldId id="1474" r:id="rId4"/>
  </p:sldIdLst>
  <p:sldSz cx="18288000" cy="10287000"/>
  <p:notesSz cx="6858000" cy="9144000"/>
  <p:embeddedFontLst>
    <p:embeddedFont>
      <p:font typeface="Bebas Neue" panose="020B0606020202050201" pitchFamily="34" charset="0"/>
      <p:regular r:id="rId6"/>
    </p:embeddedFont>
    <p:embeddedFont>
      <p:font typeface="Titillium Web Bold" panose="00000800000000000000" charset="0"/>
      <p:regular r:id="rId7"/>
      <p:bold r:id="rId8"/>
    </p:embeddedFont>
  </p:embeddedFontLst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ción predeterminada" id="{0922F377-9988-4F37-82A8-C652F19847C6}">
          <p14:sldIdLst>
            <p14:sldId id="1472"/>
            <p14:sldId id="1473"/>
            <p14:sldId id="1474"/>
          </p14:sldIdLst>
        </p14:section>
        <p14:section name="Secondary Research" id="{D1B95240-A631-4C9F-AA24-6672B3359107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36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AADC"/>
    <a:srgbClr val="B4C800"/>
    <a:srgbClr val="FFFFFF"/>
    <a:srgbClr val="AFDDF1"/>
    <a:srgbClr val="79F5FF"/>
    <a:srgbClr val="F9FFC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3B8D6B8-EAFF-44E7-B595-455A352A0DF0}" v="2" dt="2024-08-20T09:20:50.29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466" autoAdjust="0"/>
    <p:restoredTop sz="72934" autoAdjust="0"/>
  </p:normalViewPr>
  <p:slideViewPr>
    <p:cSldViewPr>
      <p:cViewPr varScale="1">
        <p:scale>
          <a:sx n="73" d="100"/>
          <a:sy n="73" d="100"/>
        </p:scale>
        <p:origin x="114" y="150"/>
      </p:cViewPr>
      <p:guideLst>
        <p:guide orient="horz" pos="2136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3.fntdata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font" Target="fonts/font2.fntdata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1.fntdata"/><Relationship Id="rId11" Type="http://schemas.openxmlformats.org/officeDocument/2006/relationships/viewProps" Target="viewProps.xml"/><Relationship Id="rId5" Type="http://schemas.openxmlformats.org/officeDocument/2006/relationships/notesMaster" Target="notesMasters/notesMaster1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ikesh Chugani" userId="9c759398cfaae00f" providerId="LiveId" clId="{33B8D6B8-EAFF-44E7-B595-455A352A0DF0}"/>
    <pc:docChg chg="delSld modSld delMainMaster modSection">
      <pc:chgData name="Vikesh Chugani" userId="9c759398cfaae00f" providerId="LiveId" clId="{33B8D6B8-EAFF-44E7-B595-455A352A0DF0}" dt="2024-08-20T09:20:51.424" v="4" actId="47"/>
      <pc:docMkLst>
        <pc:docMk/>
      </pc:docMkLst>
      <pc:sldChg chg="del">
        <pc:chgData name="Vikesh Chugani" userId="9c759398cfaae00f" providerId="LiveId" clId="{33B8D6B8-EAFF-44E7-B595-455A352A0DF0}" dt="2024-08-19T11:45:31.331" v="0" actId="47"/>
        <pc:sldMkLst>
          <pc:docMk/>
          <pc:sldMk cId="0" sldId="256"/>
        </pc:sldMkLst>
      </pc:sldChg>
      <pc:sldChg chg="del">
        <pc:chgData name="Vikesh Chugani" userId="9c759398cfaae00f" providerId="LiveId" clId="{33B8D6B8-EAFF-44E7-B595-455A352A0DF0}" dt="2024-08-19T11:45:31.331" v="0" actId="47"/>
        <pc:sldMkLst>
          <pc:docMk/>
          <pc:sldMk cId="0" sldId="306"/>
        </pc:sldMkLst>
      </pc:sldChg>
      <pc:sldChg chg="del">
        <pc:chgData name="Vikesh Chugani" userId="9c759398cfaae00f" providerId="LiveId" clId="{33B8D6B8-EAFF-44E7-B595-455A352A0DF0}" dt="2024-08-19T11:45:31.331" v="0" actId="47"/>
        <pc:sldMkLst>
          <pc:docMk/>
          <pc:sldMk cId="0" sldId="307"/>
        </pc:sldMkLst>
      </pc:sldChg>
      <pc:sldChg chg="del">
        <pc:chgData name="Vikesh Chugani" userId="9c759398cfaae00f" providerId="LiveId" clId="{33B8D6B8-EAFF-44E7-B595-455A352A0DF0}" dt="2024-08-19T11:45:31.331" v="0" actId="47"/>
        <pc:sldMkLst>
          <pc:docMk/>
          <pc:sldMk cId="0" sldId="308"/>
        </pc:sldMkLst>
      </pc:sldChg>
      <pc:sldChg chg="del">
        <pc:chgData name="Vikesh Chugani" userId="9c759398cfaae00f" providerId="LiveId" clId="{33B8D6B8-EAFF-44E7-B595-455A352A0DF0}" dt="2024-08-19T11:45:31.331" v="0" actId="47"/>
        <pc:sldMkLst>
          <pc:docMk/>
          <pc:sldMk cId="0" sldId="309"/>
        </pc:sldMkLst>
      </pc:sldChg>
      <pc:sldChg chg="del">
        <pc:chgData name="Vikesh Chugani" userId="9c759398cfaae00f" providerId="LiveId" clId="{33B8D6B8-EAFF-44E7-B595-455A352A0DF0}" dt="2024-08-19T11:45:37.534" v="1" actId="47"/>
        <pc:sldMkLst>
          <pc:docMk/>
          <pc:sldMk cId="0" sldId="310"/>
        </pc:sldMkLst>
      </pc:sldChg>
      <pc:sldChg chg="del">
        <pc:chgData name="Vikesh Chugani" userId="9c759398cfaae00f" providerId="LiveId" clId="{33B8D6B8-EAFF-44E7-B595-455A352A0DF0}" dt="2024-08-19T11:45:37.534" v="1" actId="47"/>
        <pc:sldMkLst>
          <pc:docMk/>
          <pc:sldMk cId="0" sldId="311"/>
        </pc:sldMkLst>
      </pc:sldChg>
      <pc:sldChg chg="del">
        <pc:chgData name="Vikesh Chugani" userId="9c759398cfaae00f" providerId="LiveId" clId="{33B8D6B8-EAFF-44E7-B595-455A352A0DF0}" dt="2024-08-19T11:45:37.534" v="1" actId="47"/>
        <pc:sldMkLst>
          <pc:docMk/>
          <pc:sldMk cId="0" sldId="312"/>
        </pc:sldMkLst>
      </pc:sldChg>
      <pc:sldChg chg="del">
        <pc:chgData name="Vikesh Chugani" userId="9c759398cfaae00f" providerId="LiveId" clId="{33B8D6B8-EAFF-44E7-B595-455A352A0DF0}" dt="2024-08-19T11:45:37.534" v="1" actId="47"/>
        <pc:sldMkLst>
          <pc:docMk/>
          <pc:sldMk cId="0" sldId="313"/>
        </pc:sldMkLst>
      </pc:sldChg>
      <pc:sldChg chg="del">
        <pc:chgData name="Vikesh Chugani" userId="9c759398cfaae00f" providerId="LiveId" clId="{33B8D6B8-EAFF-44E7-B595-455A352A0DF0}" dt="2024-08-20T09:20:51.424" v="4" actId="47"/>
        <pc:sldMkLst>
          <pc:docMk/>
          <pc:sldMk cId="1775406622" sldId="359"/>
        </pc:sldMkLst>
      </pc:sldChg>
      <pc:sldChg chg="del">
        <pc:chgData name="Vikesh Chugani" userId="9c759398cfaae00f" providerId="LiveId" clId="{33B8D6B8-EAFF-44E7-B595-455A352A0DF0}" dt="2024-08-19T11:45:31.331" v="0" actId="47"/>
        <pc:sldMkLst>
          <pc:docMk/>
          <pc:sldMk cId="2873868313" sldId="382"/>
        </pc:sldMkLst>
      </pc:sldChg>
      <pc:sldChg chg="del">
        <pc:chgData name="Vikesh Chugani" userId="9c759398cfaae00f" providerId="LiveId" clId="{33B8D6B8-EAFF-44E7-B595-455A352A0DF0}" dt="2024-08-19T11:45:37.534" v="1" actId="47"/>
        <pc:sldMkLst>
          <pc:docMk/>
          <pc:sldMk cId="2706074010" sldId="461"/>
        </pc:sldMkLst>
      </pc:sldChg>
      <pc:sldChg chg="del">
        <pc:chgData name="Vikesh Chugani" userId="9c759398cfaae00f" providerId="LiveId" clId="{33B8D6B8-EAFF-44E7-B595-455A352A0DF0}" dt="2024-08-19T11:45:31.331" v="0" actId="47"/>
        <pc:sldMkLst>
          <pc:docMk/>
          <pc:sldMk cId="1997537558" sldId="514"/>
        </pc:sldMkLst>
      </pc:sldChg>
      <pc:sldChg chg="del">
        <pc:chgData name="Vikesh Chugani" userId="9c759398cfaae00f" providerId="LiveId" clId="{33B8D6B8-EAFF-44E7-B595-455A352A0DF0}" dt="2024-08-19T11:45:31.331" v="0" actId="47"/>
        <pc:sldMkLst>
          <pc:docMk/>
          <pc:sldMk cId="232353031" sldId="547"/>
        </pc:sldMkLst>
      </pc:sldChg>
      <pc:sldChg chg="del">
        <pc:chgData name="Vikesh Chugani" userId="9c759398cfaae00f" providerId="LiveId" clId="{33B8D6B8-EAFF-44E7-B595-455A352A0DF0}" dt="2024-08-19T11:45:31.331" v="0" actId="47"/>
        <pc:sldMkLst>
          <pc:docMk/>
          <pc:sldMk cId="870430930" sldId="550"/>
        </pc:sldMkLst>
      </pc:sldChg>
      <pc:sldChg chg="del">
        <pc:chgData name="Vikesh Chugani" userId="9c759398cfaae00f" providerId="LiveId" clId="{33B8D6B8-EAFF-44E7-B595-455A352A0DF0}" dt="2024-08-19T11:45:37.534" v="1" actId="47"/>
        <pc:sldMkLst>
          <pc:docMk/>
          <pc:sldMk cId="2241106778" sldId="554"/>
        </pc:sldMkLst>
      </pc:sldChg>
      <pc:sldChg chg="del">
        <pc:chgData name="Vikesh Chugani" userId="9c759398cfaae00f" providerId="LiveId" clId="{33B8D6B8-EAFF-44E7-B595-455A352A0DF0}" dt="2024-08-19T11:45:37.534" v="1" actId="47"/>
        <pc:sldMkLst>
          <pc:docMk/>
          <pc:sldMk cId="1148439823" sldId="557"/>
        </pc:sldMkLst>
      </pc:sldChg>
      <pc:sldChg chg="del">
        <pc:chgData name="Vikesh Chugani" userId="9c759398cfaae00f" providerId="LiveId" clId="{33B8D6B8-EAFF-44E7-B595-455A352A0DF0}" dt="2024-08-20T09:19:46.898" v="2" actId="47"/>
        <pc:sldMkLst>
          <pc:docMk/>
          <pc:sldMk cId="3399892931" sldId="568"/>
        </pc:sldMkLst>
      </pc:sldChg>
      <pc:sldChg chg="del">
        <pc:chgData name="Vikesh Chugani" userId="9c759398cfaae00f" providerId="LiveId" clId="{33B8D6B8-EAFF-44E7-B595-455A352A0DF0}" dt="2024-08-19T11:45:31.331" v="0" actId="47"/>
        <pc:sldMkLst>
          <pc:docMk/>
          <pc:sldMk cId="1171548870" sldId="576"/>
        </pc:sldMkLst>
      </pc:sldChg>
      <pc:sldChg chg="del">
        <pc:chgData name="Vikesh Chugani" userId="9c759398cfaae00f" providerId="LiveId" clId="{33B8D6B8-EAFF-44E7-B595-455A352A0DF0}" dt="2024-08-19T11:45:37.534" v="1" actId="47"/>
        <pc:sldMkLst>
          <pc:docMk/>
          <pc:sldMk cId="492950247" sldId="1442"/>
        </pc:sldMkLst>
      </pc:sldChg>
      <pc:sldChg chg="del">
        <pc:chgData name="Vikesh Chugani" userId="9c759398cfaae00f" providerId="LiveId" clId="{33B8D6B8-EAFF-44E7-B595-455A352A0DF0}" dt="2024-08-19T11:45:31.331" v="0" actId="47"/>
        <pc:sldMkLst>
          <pc:docMk/>
          <pc:sldMk cId="2344106334" sldId="1458"/>
        </pc:sldMkLst>
      </pc:sldChg>
      <pc:sldChg chg="del">
        <pc:chgData name="Vikesh Chugani" userId="9c759398cfaae00f" providerId="LiveId" clId="{33B8D6B8-EAFF-44E7-B595-455A352A0DF0}" dt="2024-08-19T11:45:37.534" v="1" actId="47"/>
        <pc:sldMkLst>
          <pc:docMk/>
          <pc:sldMk cId="4055912385" sldId="1462"/>
        </pc:sldMkLst>
      </pc:sldChg>
      <pc:sldChg chg="del">
        <pc:chgData name="Vikesh Chugani" userId="9c759398cfaae00f" providerId="LiveId" clId="{33B8D6B8-EAFF-44E7-B595-455A352A0DF0}" dt="2024-08-19T11:45:37.534" v="1" actId="47"/>
        <pc:sldMkLst>
          <pc:docMk/>
          <pc:sldMk cId="2902647541" sldId="1473"/>
        </pc:sldMkLst>
      </pc:sldChg>
      <pc:sldChg chg="modNotesTx">
        <pc:chgData name="Vikesh Chugani" userId="9c759398cfaae00f" providerId="LiveId" clId="{33B8D6B8-EAFF-44E7-B595-455A352A0DF0}" dt="2024-08-20T09:19:51.118" v="3" actId="20577"/>
        <pc:sldMkLst>
          <pc:docMk/>
          <pc:sldMk cId="4257998033" sldId="1473"/>
        </pc:sldMkLst>
      </pc:sldChg>
      <pc:sldChg chg="del">
        <pc:chgData name="Vikesh Chugani" userId="9c759398cfaae00f" providerId="LiveId" clId="{33B8D6B8-EAFF-44E7-B595-455A352A0DF0}" dt="2024-08-19T11:45:37.534" v="1" actId="47"/>
        <pc:sldMkLst>
          <pc:docMk/>
          <pc:sldMk cId="158770865" sldId="1476"/>
        </pc:sldMkLst>
      </pc:sldChg>
      <pc:sldChg chg="del">
        <pc:chgData name="Vikesh Chugani" userId="9c759398cfaae00f" providerId="LiveId" clId="{33B8D6B8-EAFF-44E7-B595-455A352A0DF0}" dt="2024-08-19T11:45:37.534" v="1" actId="47"/>
        <pc:sldMkLst>
          <pc:docMk/>
          <pc:sldMk cId="3213568042" sldId="1477"/>
        </pc:sldMkLst>
      </pc:sldChg>
      <pc:sldChg chg="del">
        <pc:chgData name="Vikesh Chugani" userId="9c759398cfaae00f" providerId="LiveId" clId="{33B8D6B8-EAFF-44E7-B595-455A352A0DF0}" dt="2024-08-19T11:45:37.534" v="1" actId="47"/>
        <pc:sldMkLst>
          <pc:docMk/>
          <pc:sldMk cId="601220448" sldId="1478"/>
        </pc:sldMkLst>
      </pc:sldChg>
      <pc:sldChg chg="del">
        <pc:chgData name="Vikesh Chugani" userId="9c759398cfaae00f" providerId="LiveId" clId="{33B8D6B8-EAFF-44E7-B595-455A352A0DF0}" dt="2024-08-19T11:45:31.331" v="0" actId="47"/>
        <pc:sldMkLst>
          <pc:docMk/>
          <pc:sldMk cId="610267048" sldId="1653"/>
        </pc:sldMkLst>
      </pc:sldChg>
      <pc:sldChg chg="del">
        <pc:chgData name="Vikesh Chugani" userId="9c759398cfaae00f" providerId="LiveId" clId="{33B8D6B8-EAFF-44E7-B595-455A352A0DF0}" dt="2024-08-19T11:45:31.331" v="0" actId="47"/>
        <pc:sldMkLst>
          <pc:docMk/>
          <pc:sldMk cId="766010963" sldId="1678"/>
        </pc:sldMkLst>
      </pc:sldChg>
      <pc:sldChg chg="del">
        <pc:chgData name="Vikesh Chugani" userId="9c759398cfaae00f" providerId="LiveId" clId="{33B8D6B8-EAFF-44E7-B595-455A352A0DF0}" dt="2024-08-19T11:45:37.534" v="1" actId="47"/>
        <pc:sldMkLst>
          <pc:docMk/>
          <pc:sldMk cId="4022447760" sldId="1690"/>
        </pc:sldMkLst>
      </pc:sldChg>
      <pc:sldChg chg="del">
        <pc:chgData name="Vikesh Chugani" userId="9c759398cfaae00f" providerId="LiveId" clId="{33B8D6B8-EAFF-44E7-B595-455A352A0DF0}" dt="2024-08-19T11:45:31.331" v="0" actId="47"/>
        <pc:sldMkLst>
          <pc:docMk/>
          <pc:sldMk cId="759465604" sldId="1693"/>
        </pc:sldMkLst>
      </pc:sldChg>
      <pc:sldChg chg="del">
        <pc:chgData name="Vikesh Chugani" userId="9c759398cfaae00f" providerId="LiveId" clId="{33B8D6B8-EAFF-44E7-B595-455A352A0DF0}" dt="2024-08-19T11:45:31.331" v="0" actId="47"/>
        <pc:sldMkLst>
          <pc:docMk/>
          <pc:sldMk cId="2564190797" sldId="1694"/>
        </pc:sldMkLst>
      </pc:sldChg>
      <pc:sldChg chg="del">
        <pc:chgData name="Vikesh Chugani" userId="9c759398cfaae00f" providerId="LiveId" clId="{33B8D6B8-EAFF-44E7-B595-455A352A0DF0}" dt="2024-08-19T11:45:31.331" v="0" actId="47"/>
        <pc:sldMkLst>
          <pc:docMk/>
          <pc:sldMk cId="3983337660" sldId="1695"/>
        </pc:sldMkLst>
      </pc:sldChg>
      <pc:sldChg chg="del">
        <pc:chgData name="Vikesh Chugani" userId="9c759398cfaae00f" providerId="LiveId" clId="{33B8D6B8-EAFF-44E7-B595-455A352A0DF0}" dt="2024-08-19T11:45:31.331" v="0" actId="47"/>
        <pc:sldMkLst>
          <pc:docMk/>
          <pc:sldMk cId="2509261614" sldId="1699"/>
        </pc:sldMkLst>
      </pc:sldChg>
      <pc:sldChg chg="del">
        <pc:chgData name="Vikesh Chugani" userId="9c759398cfaae00f" providerId="LiveId" clId="{33B8D6B8-EAFF-44E7-B595-455A352A0DF0}" dt="2024-08-19T11:45:31.331" v="0" actId="47"/>
        <pc:sldMkLst>
          <pc:docMk/>
          <pc:sldMk cId="2964524841" sldId="1700"/>
        </pc:sldMkLst>
      </pc:sldChg>
      <pc:sldChg chg="del">
        <pc:chgData name="Vikesh Chugani" userId="9c759398cfaae00f" providerId="LiveId" clId="{33B8D6B8-EAFF-44E7-B595-455A352A0DF0}" dt="2024-08-19T11:45:31.331" v="0" actId="47"/>
        <pc:sldMkLst>
          <pc:docMk/>
          <pc:sldMk cId="1957612480" sldId="1843"/>
        </pc:sldMkLst>
      </pc:sldChg>
      <pc:sldChg chg="del">
        <pc:chgData name="Vikesh Chugani" userId="9c759398cfaae00f" providerId="LiveId" clId="{33B8D6B8-EAFF-44E7-B595-455A352A0DF0}" dt="2024-08-19T11:45:31.331" v="0" actId="47"/>
        <pc:sldMkLst>
          <pc:docMk/>
          <pc:sldMk cId="2153535519" sldId="1856"/>
        </pc:sldMkLst>
      </pc:sldChg>
      <pc:sldChg chg="del">
        <pc:chgData name="Vikesh Chugani" userId="9c759398cfaae00f" providerId="LiveId" clId="{33B8D6B8-EAFF-44E7-B595-455A352A0DF0}" dt="2024-08-19T11:45:31.331" v="0" actId="47"/>
        <pc:sldMkLst>
          <pc:docMk/>
          <pc:sldMk cId="1138289792" sldId="1858"/>
        </pc:sldMkLst>
      </pc:sldChg>
      <pc:sldChg chg="del">
        <pc:chgData name="Vikesh Chugani" userId="9c759398cfaae00f" providerId="LiveId" clId="{33B8D6B8-EAFF-44E7-B595-455A352A0DF0}" dt="2024-08-19T11:45:31.331" v="0" actId="47"/>
        <pc:sldMkLst>
          <pc:docMk/>
          <pc:sldMk cId="3831877885" sldId="1859"/>
        </pc:sldMkLst>
      </pc:sldChg>
      <pc:sldChg chg="del">
        <pc:chgData name="Vikesh Chugani" userId="9c759398cfaae00f" providerId="LiveId" clId="{33B8D6B8-EAFF-44E7-B595-455A352A0DF0}" dt="2024-08-19T11:45:31.331" v="0" actId="47"/>
        <pc:sldMkLst>
          <pc:docMk/>
          <pc:sldMk cId="1755524343" sldId="1861"/>
        </pc:sldMkLst>
      </pc:sldChg>
      <pc:sldChg chg="del">
        <pc:chgData name="Vikesh Chugani" userId="9c759398cfaae00f" providerId="LiveId" clId="{33B8D6B8-EAFF-44E7-B595-455A352A0DF0}" dt="2024-08-19T11:45:31.331" v="0" actId="47"/>
        <pc:sldMkLst>
          <pc:docMk/>
          <pc:sldMk cId="727476447" sldId="1862"/>
        </pc:sldMkLst>
      </pc:sldChg>
      <pc:sldChg chg="del">
        <pc:chgData name="Vikesh Chugani" userId="9c759398cfaae00f" providerId="LiveId" clId="{33B8D6B8-EAFF-44E7-B595-455A352A0DF0}" dt="2024-08-19T11:45:31.331" v="0" actId="47"/>
        <pc:sldMkLst>
          <pc:docMk/>
          <pc:sldMk cId="214491966" sldId="1864"/>
        </pc:sldMkLst>
      </pc:sldChg>
      <pc:sldChg chg="del">
        <pc:chgData name="Vikesh Chugani" userId="9c759398cfaae00f" providerId="LiveId" clId="{33B8D6B8-EAFF-44E7-B595-455A352A0DF0}" dt="2024-08-19T11:45:31.331" v="0" actId="47"/>
        <pc:sldMkLst>
          <pc:docMk/>
          <pc:sldMk cId="1353234795" sldId="1866"/>
        </pc:sldMkLst>
      </pc:sldChg>
      <pc:sldChg chg="del">
        <pc:chgData name="Vikesh Chugani" userId="9c759398cfaae00f" providerId="LiveId" clId="{33B8D6B8-EAFF-44E7-B595-455A352A0DF0}" dt="2024-08-19T11:45:37.534" v="1" actId="47"/>
        <pc:sldMkLst>
          <pc:docMk/>
          <pc:sldMk cId="1333497614" sldId="1874"/>
        </pc:sldMkLst>
      </pc:sldChg>
      <pc:sldChg chg="del">
        <pc:chgData name="Vikesh Chugani" userId="9c759398cfaae00f" providerId="LiveId" clId="{33B8D6B8-EAFF-44E7-B595-455A352A0DF0}" dt="2024-08-19T11:45:31.331" v="0" actId="47"/>
        <pc:sldMkLst>
          <pc:docMk/>
          <pc:sldMk cId="135681167" sldId="1877"/>
        </pc:sldMkLst>
      </pc:sldChg>
      <pc:sldChg chg="del">
        <pc:chgData name="Vikesh Chugani" userId="9c759398cfaae00f" providerId="LiveId" clId="{33B8D6B8-EAFF-44E7-B595-455A352A0DF0}" dt="2024-08-19T11:45:31.331" v="0" actId="47"/>
        <pc:sldMkLst>
          <pc:docMk/>
          <pc:sldMk cId="3477707378" sldId="1879"/>
        </pc:sldMkLst>
      </pc:sldChg>
      <pc:sldChg chg="del">
        <pc:chgData name="Vikesh Chugani" userId="9c759398cfaae00f" providerId="LiveId" clId="{33B8D6B8-EAFF-44E7-B595-455A352A0DF0}" dt="2024-08-19T11:45:31.331" v="0" actId="47"/>
        <pc:sldMkLst>
          <pc:docMk/>
          <pc:sldMk cId="265919042" sldId="1880"/>
        </pc:sldMkLst>
      </pc:sldChg>
      <pc:sldChg chg="del">
        <pc:chgData name="Vikesh Chugani" userId="9c759398cfaae00f" providerId="LiveId" clId="{33B8D6B8-EAFF-44E7-B595-455A352A0DF0}" dt="2024-08-19T11:45:31.331" v="0" actId="47"/>
        <pc:sldMkLst>
          <pc:docMk/>
          <pc:sldMk cId="1123741503" sldId="1881"/>
        </pc:sldMkLst>
      </pc:sldChg>
      <pc:sldChg chg="del">
        <pc:chgData name="Vikesh Chugani" userId="9c759398cfaae00f" providerId="LiveId" clId="{33B8D6B8-EAFF-44E7-B595-455A352A0DF0}" dt="2024-08-19T11:45:31.331" v="0" actId="47"/>
        <pc:sldMkLst>
          <pc:docMk/>
          <pc:sldMk cId="1450417700" sldId="1882"/>
        </pc:sldMkLst>
      </pc:sldChg>
      <pc:sldChg chg="del">
        <pc:chgData name="Vikesh Chugani" userId="9c759398cfaae00f" providerId="LiveId" clId="{33B8D6B8-EAFF-44E7-B595-455A352A0DF0}" dt="2024-08-19T11:45:37.534" v="1" actId="47"/>
        <pc:sldMkLst>
          <pc:docMk/>
          <pc:sldMk cId="1344727080" sldId="1883"/>
        </pc:sldMkLst>
      </pc:sldChg>
      <pc:sldChg chg="del">
        <pc:chgData name="Vikesh Chugani" userId="9c759398cfaae00f" providerId="LiveId" clId="{33B8D6B8-EAFF-44E7-B595-455A352A0DF0}" dt="2024-08-19T11:45:31.331" v="0" actId="47"/>
        <pc:sldMkLst>
          <pc:docMk/>
          <pc:sldMk cId="1772530871" sldId="1886"/>
        </pc:sldMkLst>
      </pc:sldChg>
      <pc:sldChg chg="del">
        <pc:chgData name="Vikesh Chugani" userId="9c759398cfaae00f" providerId="LiveId" clId="{33B8D6B8-EAFF-44E7-B595-455A352A0DF0}" dt="2024-08-19T11:45:31.331" v="0" actId="47"/>
        <pc:sldMkLst>
          <pc:docMk/>
          <pc:sldMk cId="1319048102" sldId="1888"/>
        </pc:sldMkLst>
      </pc:sldChg>
      <pc:sldChg chg="del">
        <pc:chgData name="Vikesh Chugani" userId="9c759398cfaae00f" providerId="LiveId" clId="{33B8D6B8-EAFF-44E7-B595-455A352A0DF0}" dt="2024-08-19T11:45:31.331" v="0" actId="47"/>
        <pc:sldMkLst>
          <pc:docMk/>
          <pc:sldMk cId="217827664" sldId="1891"/>
        </pc:sldMkLst>
      </pc:sldChg>
      <pc:sldChg chg="del">
        <pc:chgData name="Vikesh Chugani" userId="9c759398cfaae00f" providerId="LiveId" clId="{33B8D6B8-EAFF-44E7-B595-455A352A0DF0}" dt="2024-08-19T11:45:37.534" v="1" actId="47"/>
        <pc:sldMkLst>
          <pc:docMk/>
          <pc:sldMk cId="1354936174" sldId="1892"/>
        </pc:sldMkLst>
      </pc:sldChg>
      <pc:sldChg chg="del">
        <pc:chgData name="Vikesh Chugani" userId="9c759398cfaae00f" providerId="LiveId" clId="{33B8D6B8-EAFF-44E7-B595-455A352A0DF0}" dt="2024-08-19T11:45:37.534" v="1" actId="47"/>
        <pc:sldMkLst>
          <pc:docMk/>
          <pc:sldMk cId="1821538331" sldId="1893"/>
        </pc:sldMkLst>
      </pc:sldChg>
      <pc:sldMasterChg chg="delSldLayout">
        <pc:chgData name="Vikesh Chugani" userId="9c759398cfaae00f" providerId="LiveId" clId="{33B8D6B8-EAFF-44E7-B595-455A352A0DF0}" dt="2024-08-19T11:45:37.534" v="1" actId="47"/>
        <pc:sldMasterMkLst>
          <pc:docMk/>
          <pc:sldMasterMk cId="0" sldId="2147483648"/>
        </pc:sldMasterMkLst>
        <pc:sldLayoutChg chg="del">
          <pc:chgData name="Vikesh Chugani" userId="9c759398cfaae00f" providerId="LiveId" clId="{33B8D6B8-EAFF-44E7-B595-455A352A0DF0}" dt="2024-08-19T11:45:37.534" v="1" actId="47"/>
          <pc:sldLayoutMkLst>
            <pc:docMk/>
            <pc:sldMasterMk cId="0" sldId="2147483648"/>
            <pc:sldLayoutMk cId="2650031198" sldId="2147483660"/>
          </pc:sldLayoutMkLst>
        </pc:sldLayoutChg>
        <pc:sldLayoutChg chg="del">
          <pc:chgData name="Vikesh Chugani" userId="9c759398cfaae00f" providerId="LiveId" clId="{33B8D6B8-EAFF-44E7-B595-455A352A0DF0}" dt="2024-08-19T11:45:37.534" v="1" actId="47"/>
          <pc:sldLayoutMkLst>
            <pc:docMk/>
            <pc:sldMasterMk cId="0" sldId="2147483648"/>
            <pc:sldLayoutMk cId="2828136979" sldId="2147483663"/>
          </pc:sldLayoutMkLst>
        </pc:sldLayoutChg>
        <pc:sldLayoutChg chg="del">
          <pc:chgData name="Vikesh Chugani" userId="9c759398cfaae00f" providerId="LiveId" clId="{33B8D6B8-EAFF-44E7-B595-455A352A0DF0}" dt="2024-08-19T11:45:37.534" v="1" actId="47"/>
          <pc:sldLayoutMkLst>
            <pc:docMk/>
            <pc:sldMasterMk cId="0" sldId="2147483648"/>
            <pc:sldLayoutMk cId="2926243512" sldId="2147483664"/>
          </pc:sldLayoutMkLst>
        </pc:sldLayoutChg>
      </pc:sldMasterChg>
      <pc:sldMasterChg chg="del delSldLayout">
        <pc:chgData name="Vikesh Chugani" userId="9c759398cfaae00f" providerId="LiveId" clId="{33B8D6B8-EAFF-44E7-B595-455A352A0DF0}" dt="2024-08-19T11:45:37.534" v="1" actId="47"/>
        <pc:sldMasterMkLst>
          <pc:docMk/>
          <pc:sldMasterMk cId="2905603714" sldId="2147483687"/>
        </pc:sldMasterMkLst>
        <pc:sldLayoutChg chg="del">
          <pc:chgData name="Vikesh Chugani" userId="9c759398cfaae00f" providerId="LiveId" clId="{33B8D6B8-EAFF-44E7-B595-455A352A0DF0}" dt="2024-08-19T11:45:37.534" v="1" actId="47"/>
          <pc:sldLayoutMkLst>
            <pc:docMk/>
            <pc:sldMasterMk cId="2905603714" sldId="2147483687"/>
            <pc:sldLayoutMk cId="1984721469" sldId="2147483688"/>
          </pc:sldLayoutMkLst>
        </pc:sldLayoutChg>
        <pc:sldLayoutChg chg="del">
          <pc:chgData name="Vikesh Chugani" userId="9c759398cfaae00f" providerId="LiveId" clId="{33B8D6B8-EAFF-44E7-B595-455A352A0DF0}" dt="2024-08-19T11:45:37.534" v="1" actId="47"/>
          <pc:sldLayoutMkLst>
            <pc:docMk/>
            <pc:sldMasterMk cId="2905603714" sldId="2147483687"/>
            <pc:sldLayoutMk cId="2446564466" sldId="2147483689"/>
          </pc:sldLayoutMkLst>
        </pc:sldLayoutChg>
        <pc:sldLayoutChg chg="del">
          <pc:chgData name="Vikesh Chugani" userId="9c759398cfaae00f" providerId="LiveId" clId="{33B8D6B8-EAFF-44E7-B595-455A352A0DF0}" dt="2024-08-19T11:45:37.534" v="1" actId="47"/>
          <pc:sldLayoutMkLst>
            <pc:docMk/>
            <pc:sldMasterMk cId="2905603714" sldId="2147483687"/>
            <pc:sldLayoutMk cId="177772682" sldId="2147483690"/>
          </pc:sldLayoutMkLst>
        </pc:sldLayoutChg>
        <pc:sldLayoutChg chg="del">
          <pc:chgData name="Vikesh Chugani" userId="9c759398cfaae00f" providerId="LiveId" clId="{33B8D6B8-EAFF-44E7-B595-455A352A0DF0}" dt="2024-08-19T11:45:37.534" v="1" actId="47"/>
          <pc:sldLayoutMkLst>
            <pc:docMk/>
            <pc:sldMasterMk cId="2905603714" sldId="2147483687"/>
            <pc:sldLayoutMk cId="699606475" sldId="2147483691"/>
          </pc:sldLayoutMkLst>
        </pc:sldLayoutChg>
        <pc:sldLayoutChg chg="del">
          <pc:chgData name="Vikesh Chugani" userId="9c759398cfaae00f" providerId="LiveId" clId="{33B8D6B8-EAFF-44E7-B595-455A352A0DF0}" dt="2024-08-19T11:45:37.534" v="1" actId="47"/>
          <pc:sldLayoutMkLst>
            <pc:docMk/>
            <pc:sldMasterMk cId="2905603714" sldId="2147483687"/>
            <pc:sldLayoutMk cId="2335939687" sldId="2147483692"/>
          </pc:sldLayoutMkLst>
        </pc:sldLayoutChg>
        <pc:sldLayoutChg chg="del">
          <pc:chgData name="Vikesh Chugani" userId="9c759398cfaae00f" providerId="LiveId" clId="{33B8D6B8-EAFF-44E7-B595-455A352A0DF0}" dt="2024-08-19T11:45:37.534" v="1" actId="47"/>
          <pc:sldLayoutMkLst>
            <pc:docMk/>
            <pc:sldMasterMk cId="2905603714" sldId="2147483687"/>
            <pc:sldLayoutMk cId="3851539813" sldId="2147483693"/>
          </pc:sldLayoutMkLst>
        </pc:sldLayoutChg>
        <pc:sldLayoutChg chg="del">
          <pc:chgData name="Vikesh Chugani" userId="9c759398cfaae00f" providerId="LiveId" clId="{33B8D6B8-EAFF-44E7-B595-455A352A0DF0}" dt="2024-08-19T11:45:37.534" v="1" actId="47"/>
          <pc:sldLayoutMkLst>
            <pc:docMk/>
            <pc:sldMasterMk cId="2905603714" sldId="2147483687"/>
            <pc:sldLayoutMk cId="46355659" sldId="2147483694"/>
          </pc:sldLayoutMkLst>
        </pc:sldLayoutChg>
        <pc:sldLayoutChg chg="del">
          <pc:chgData name="Vikesh Chugani" userId="9c759398cfaae00f" providerId="LiveId" clId="{33B8D6B8-EAFF-44E7-B595-455A352A0DF0}" dt="2024-08-19T11:45:37.534" v="1" actId="47"/>
          <pc:sldLayoutMkLst>
            <pc:docMk/>
            <pc:sldMasterMk cId="2905603714" sldId="2147483687"/>
            <pc:sldLayoutMk cId="2709306815" sldId="2147483695"/>
          </pc:sldLayoutMkLst>
        </pc:sldLayoutChg>
        <pc:sldLayoutChg chg="del">
          <pc:chgData name="Vikesh Chugani" userId="9c759398cfaae00f" providerId="LiveId" clId="{33B8D6B8-EAFF-44E7-B595-455A352A0DF0}" dt="2024-08-19T11:45:37.534" v="1" actId="47"/>
          <pc:sldLayoutMkLst>
            <pc:docMk/>
            <pc:sldMasterMk cId="2905603714" sldId="2147483687"/>
            <pc:sldLayoutMk cId="791754848" sldId="2147483696"/>
          </pc:sldLayoutMkLst>
        </pc:sldLayoutChg>
        <pc:sldLayoutChg chg="del">
          <pc:chgData name="Vikesh Chugani" userId="9c759398cfaae00f" providerId="LiveId" clId="{33B8D6B8-EAFF-44E7-B595-455A352A0DF0}" dt="2024-08-19T11:45:37.534" v="1" actId="47"/>
          <pc:sldLayoutMkLst>
            <pc:docMk/>
            <pc:sldMasterMk cId="2905603714" sldId="2147483687"/>
            <pc:sldLayoutMk cId="4102353142" sldId="2147483697"/>
          </pc:sldLayoutMkLst>
        </pc:sldLayoutChg>
        <pc:sldLayoutChg chg="del">
          <pc:chgData name="Vikesh Chugani" userId="9c759398cfaae00f" providerId="LiveId" clId="{33B8D6B8-EAFF-44E7-B595-455A352A0DF0}" dt="2024-08-19T11:45:37.534" v="1" actId="47"/>
          <pc:sldLayoutMkLst>
            <pc:docMk/>
            <pc:sldMasterMk cId="2905603714" sldId="2147483687"/>
            <pc:sldLayoutMk cId="739430249" sldId="2147483698"/>
          </pc:sldLayoutMkLst>
        </pc:sldLayoutChg>
        <pc:sldLayoutChg chg="del">
          <pc:chgData name="Vikesh Chugani" userId="9c759398cfaae00f" providerId="LiveId" clId="{33B8D6B8-EAFF-44E7-B595-455A352A0DF0}" dt="2024-08-19T11:45:37.534" v="1" actId="47"/>
          <pc:sldLayoutMkLst>
            <pc:docMk/>
            <pc:sldMasterMk cId="2905603714" sldId="2147483687"/>
            <pc:sldLayoutMk cId="2373335450" sldId="2147483699"/>
          </pc:sldLayoutMkLst>
        </pc:sldLayoutChg>
        <pc:sldLayoutChg chg="del">
          <pc:chgData name="Vikesh Chugani" userId="9c759398cfaae00f" providerId="LiveId" clId="{33B8D6B8-EAFF-44E7-B595-455A352A0DF0}" dt="2024-08-19T11:45:37.534" v="1" actId="47"/>
          <pc:sldLayoutMkLst>
            <pc:docMk/>
            <pc:sldMasterMk cId="2905603714" sldId="2147483687"/>
            <pc:sldLayoutMk cId="3323031849" sldId="2147483700"/>
          </pc:sldLayoutMkLst>
        </pc:sldLayoutChg>
        <pc:sldLayoutChg chg="del">
          <pc:chgData name="Vikesh Chugani" userId="9c759398cfaae00f" providerId="LiveId" clId="{33B8D6B8-EAFF-44E7-B595-455A352A0DF0}" dt="2024-08-19T11:45:37.534" v="1" actId="47"/>
          <pc:sldLayoutMkLst>
            <pc:docMk/>
            <pc:sldMasterMk cId="2905603714" sldId="2147483687"/>
            <pc:sldLayoutMk cId="2781935230" sldId="2147483701"/>
          </pc:sldLayoutMkLst>
        </pc:sldLayoutChg>
        <pc:sldLayoutChg chg="del">
          <pc:chgData name="Vikesh Chugani" userId="9c759398cfaae00f" providerId="LiveId" clId="{33B8D6B8-EAFF-44E7-B595-455A352A0DF0}" dt="2024-08-19T11:45:37.534" v="1" actId="47"/>
          <pc:sldLayoutMkLst>
            <pc:docMk/>
            <pc:sldMasterMk cId="2905603714" sldId="2147483687"/>
            <pc:sldLayoutMk cId="1664837060" sldId="2147483702"/>
          </pc:sldLayoutMkLst>
        </pc:sldLayoutChg>
        <pc:sldLayoutChg chg="del">
          <pc:chgData name="Vikesh Chugani" userId="9c759398cfaae00f" providerId="LiveId" clId="{33B8D6B8-EAFF-44E7-B595-455A352A0DF0}" dt="2024-08-19T11:45:37.534" v="1" actId="47"/>
          <pc:sldLayoutMkLst>
            <pc:docMk/>
            <pc:sldMasterMk cId="2905603714" sldId="2147483687"/>
            <pc:sldLayoutMk cId="11523446" sldId="2147483703"/>
          </pc:sldLayoutMkLst>
        </pc:sldLayoutChg>
        <pc:sldLayoutChg chg="del">
          <pc:chgData name="Vikesh Chugani" userId="9c759398cfaae00f" providerId="LiveId" clId="{33B8D6B8-EAFF-44E7-B595-455A352A0DF0}" dt="2024-08-19T11:45:37.534" v="1" actId="47"/>
          <pc:sldLayoutMkLst>
            <pc:docMk/>
            <pc:sldMasterMk cId="2905603714" sldId="2147483687"/>
            <pc:sldLayoutMk cId="4123585782" sldId="2147483704"/>
          </pc:sldLayoutMkLst>
        </pc:sldLayoutChg>
        <pc:sldLayoutChg chg="del">
          <pc:chgData name="Vikesh Chugani" userId="9c759398cfaae00f" providerId="LiveId" clId="{33B8D6B8-EAFF-44E7-B595-455A352A0DF0}" dt="2024-08-19T11:45:37.534" v="1" actId="47"/>
          <pc:sldLayoutMkLst>
            <pc:docMk/>
            <pc:sldMasterMk cId="2905603714" sldId="2147483687"/>
            <pc:sldLayoutMk cId="1090486860" sldId="2147483705"/>
          </pc:sldLayoutMkLst>
        </pc:sldLayoutChg>
        <pc:sldLayoutChg chg="del">
          <pc:chgData name="Vikesh Chugani" userId="9c759398cfaae00f" providerId="LiveId" clId="{33B8D6B8-EAFF-44E7-B595-455A352A0DF0}" dt="2024-08-19T11:45:37.534" v="1" actId="47"/>
          <pc:sldLayoutMkLst>
            <pc:docMk/>
            <pc:sldMasterMk cId="2905603714" sldId="2147483687"/>
            <pc:sldLayoutMk cId="3278099162" sldId="2147483706"/>
          </pc:sldLayoutMkLst>
        </pc:sldLayoutChg>
        <pc:sldLayoutChg chg="del">
          <pc:chgData name="Vikesh Chugani" userId="9c759398cfaae00f" providerId="LiveId" clId="{33B8D6B8-EAFF-44E7-B595-455A352A0DF0}" dt="2024-08-19T11:45:37.534" v="1" actId="47"/>
          <pc:sldLayoutMkLst>
            <pc:docMk/>
            <pc:sldMasterMk cId="2905603714" sldId="2147483687"/>
            <pc:sldLayoutMk cId="1051220908" sldId="2147483707"/>
          </pc:sldLayoutMkLst>
        </pc:sldLayoutChg>
      </pc:sldMasterChg>
      <pc:sldMasterChg chg="del delSldLayout">
        <pc:chgData name="Vikesh Chugani" userId="9c759398cfaae00f" providerId="LiveId" clId="{33B8D6B8-EAFF-44E7-B595-455A352A0DF0}" dt="2024-08-19T11:45:37.534" v="1" actId="47"/>
        <pc:sldMasterMkLst>
          <pc:docMk/>
          <pc:sldMasterMk cId="2118750587" sldId="2147483790"/>
        </pc:sldMasterMkLst>
        <pc:sldLayoutChg chg="del">
          <pc:chgData name="Vikesh Chugani" userId="9c759398cfaae00f" providerId="LiveId" clId="{33B8D6B8-EAFF-44E7-B595-455A352A0DF0}" dt="2024-08-19T11:45:37.534" v="1" actId="47"/>
          <pc:sldLayoutMkLst>
            <pc:docMk/>
            <pc:sldMasterMk cId="2118750587" sldId="2147483790"/>
            <pc:sldLayoutMk cId="2968600400" sldId="2147483791"/>
          </pc:sldLayoutMkLst>
        </pc:sldLayoutChg>
        <pc:sldLayoutChg chg="del">
          <pc:chgData name="Vikesh Chugani" userId="9c759398cfaae00f" providerId="LiveId" clId="{33B8D6B8-EAFF-44E7-B595-455A352A0DF0}" dt="2024-08-19T11:45:37.534" v="1" actId="47"/>
          <pc:sldLayoutMkLst>
            <pc:docMk/>
            <pc:sldMasterMk cId="2118750587" sldId="2147483790"/>
            <pc:sldLayoutMk cId="450235288" sldId="2147483792"/>
          </pc:sldLayoutMkLst>
        </pc:sldLayoutChg>
        <pc:sldLayoutChg chg="del">
          <pc:chgData name="Vikesh Chugani" userId="9c759398cfaae00f" providerId="LiveId" clId="{33B8D6B8-EAFF-44E7-B595-455A352A0DF0}" dt="2024-08-19T11:45:37.534" v="1" actId="47"/>
          <pc:sldLayoutMkLst>
            <pc:docMk/>
            <pc:sldMasterMk cId="2118750587" sldId="2147483790"/>
            <pc:sldLayoutMk cId="4065977623" sldId="2147483793"/>
          </pc:sldLayoutMkLst>
        </pc:sldLayoutChg>
        <pc:sldLayoutChg chg="del">
          <pc:chgData name="Vikesh Chugani" userId="9c759398cfaae00f" providerId="LiveId" clId="{33B8D6B8-EAFF-44E7-B595-455A352A0DF0}" dt="2024-08-19T11:45:37.534" v="1" actId="47"/>
          <pc:sldLayoutMkLst>
            <pc:docMk/>
            <pc:sldMasterMk cId="2118750587" sldId="2147483790"/>
            <pc:sldLayoutMk cId="966791997" sldId="2147483794"/>
          </pc:sldLayoutMkLst>
        </pc:sldLayoutChg>
        <pc:sldLayoutChg chg="del">
          <pc:chgData name="Vikesh Chugani" userId="9c759398cfaae00f" providerId="LiveId" clId="{33B8D6B8-EAFF-44E7-B595-455A352A0DF0}" dt="2024-08-19T11:45:37.534" v="1" actId="47"/>
          <pc:sldLayoutMkLst>
            <pc:docMk/>
            <pc:sldMasterMk cId="2118750587" sldId="2147483790"/>
            <pc:sldLayoutMk cId="926378682" sldId="2147483795"/>
          </pc:sldLayoutMkLst>
        </pc:sldLayoutChg>
        <pc:sldLayoutChg chg="del">
          <pc:chgData name="Vikesh Chugani" userId="9c759398cfaae00f" providerId="LiveId" clId="{33B8D6B8-EAFF-44E7-B595-455A352A0DF0}" dt="2024-08-19T11:45:37.534" v="1" actId="47"/>
          <pc:sldLayoutMkLst>
            <pc:docMk/>
            <pc:sldMasterMk cId="2118750587" sldId="2147483790"/>
            <pc:sldLayoutMk cId="2162742503" sldId="2147483796"/>
          </pc:sldLayoutMkLst>
        </pc:sldLayoutChg>
        <pc:sldLayoutChg chg="del">
          <pc:chgData name="Vikesh Chugani" userId="9c759398cfaae00f" providerId="LiveId" clId="{33B8D6B8-EAFF-44E7-B595-455A352A0DF0}" dt="2024-08-19T11:45:37.534" v="1" actId="47"/>
          <pc:sldLayoutMkLst>
            <pc:docMk/>
            <pc:sldMasterMk cId="2118750587" sldId="2147483790"/>
            <pc:sldLayoutMk cId="1993141109" sldId="2147483797"/>
          </pc:sldLayoutMkLst>
        </pc:sldLayoutChg>
        <pc:sldLayoutChg chg="del">
          <pc:chgData name="Vikesh Chugani" userId="9c759398cfaae00f" providerId="LiveId" clId="{33B8D6B8-EAFF-44E7-B595-455A352A0DF0}" dt="2024-08-19T11:45:37.534" v="1" actId="47"/>
          <pc:sldLayoutMkLst>
            <pc:docMk/>
            <pc:sldMasterMk cId="2118750587" sldId="2147483790"/>
            <pc:sldLayoutMk cId="3809496893" sldId="2147483798"/>
          </pc:sldLayoutMkLst>
        </pc:sldLayoutChg>
        <pc:sldLayoutChg chg="del">
          <pc:chgData name="Vikesh Chugani" userId="9c759398cfaae00f" providerId="LiveId" clId="{33B8D6B8-EAFF-44E7-B595-455A352A0DF0}" dt="2024-08-19T11:45:37.534" v="1" actId="47"/>
          <pc:sldLayoutMkLst>
            <pc:docMk/>
            <pc:sldMasterMk cId="2118750587" sldId="2147483790"/>
            <pc:sldLayoutMk cId="1452733732" sldId="2147483799"/>
          </pc:sldLayoutMkLst>
        </pc:sldLayoutChg>
        <pc:sldLayoutChg chg="del">
          <pc:chgData name="Vikesh Chugani" userId="9c759398cfaae00f" providerId="LiveId" clId="{33B8D6B8-EAFF-44E7-B595-455A352A0DF0}" dt="2024-08-19T11:45:37.534" v="1" actId="47"/>
          <pc:sldLayoutMkLst>
            <pc:docMk/>
            <pc:sldMasterMk cId="2118750587" sldId="2147483790"/>
            <pc:sldLayoutMk cId="779847674" sldId="2147483800"/>
          </pc:sldLayoutMkLst>
        </pc:sldLayoutChg>
        <pc:sldLayoutChg chg="del">
          <pc:chgData name="Vikesh Chugani" userId="9c759398cfaae00f" providerId="LiveId" clId="{33B8D6B8-EAFF-44E7-B595-455A352A0DF0}" dt="2024-08-19T11:45:37.534" v="1" actId="47"/>
          <pc:sldLayoutMkLst>
            <pc:docMk/>
            <pc:sldMasterMk cId="2118750587" sldId="2147483790"/>
            <pc:sldLayoutMk cId="896292176" sldId="2147483801"/>
          </pc:sldLayoutMkLst>
        </pc:sldLayoutChg>
        <pc:sldLayoutChg chg="del">
          <pc:chgData name="Vikesh Chugani" userId="9c759398cfaae00f" providerId="LiveId" clId="{33B8D6B8-EAFF-44E7-B595-455A352A0DF0}" dt="2024-08-19T11:45:37.534" v="1" actId="47"/>
          <pc:sldLayoutMkLst>
            <pc:docMk/>
            <pc:sldMasterMk cId="2118750587" sldId="2147483790"/>
            <pc:sldLayoutMk cId="2557924862" sldId="2147483802"/>
          </pc:sldLayoutMkLst>
        </pc:sldLayoutChg>
        <pc:sldLayoutChg chg="del">
          <pc:chgData name="Vikesh Chugani" userId="9c759398cfaae00f" providerId="LiveId" clId="{33B8D6B8-EAFF-44E7-B595-455A352A0DF0}" dt="2024-08-19T11:45:37.534" v="1" actId="47"/>
          <pc:sldLayoutMkLst>
            <pc:docMk/>
            <pc:sldMasterMk cId="2118750587" sldId="2147483790"/>
            <pc:sldLayoutMk cId="924540932" sldId="2147483803"/>
          </pc:sldLayoutMkLst>
        </pc:sldLayoutChg>
        <pc:sldLayoutChg chg="del">
          <pc:chgData name="Vikesh Chugani" userId="9c759398cfaae00f" providerId="LiveId" clId="{33B8D6B8-EAFF-44E7-B595-455A352A0DF0}" dt="2024-08-19T11:45:37.534" v="1" actId="47"/>
          <pc:sldLayoutMkLst>
            <pc:docMk/>
            <pc:sldMasterMk cId="2118750587" sldId="2147483790"/>
            <pc:sldLayoutMk cId="3526593998" sldId="2147483804"/>
          </pc:sldLayoutMkLst>
        </pc:sldLayoutChg>
        <pc:sldLayoutChg chg="del">
          <pc:chgData name="Vikesh Chugani" userId="9c759398cfaae00f" providerId="LiveId" clId="{33B8D6B8-EAFF-44E7-B595-455A352A0DF0}" dt="2024-08-19T11:45:37.534" v="1" actId="47"/>
          <pc:sldLayoutMkLst>
            <pc:docMk/>
            <pc:sldMasterMk cId="2118750587" sldId="2147483790"/>
            <pc:sldLayoutMk cId="2228676215" sldId="2147483805"/>
          </pc:sldLayoutMkLst>
        </pc:sldLayoutChg>
        <pc:sldLayoutChg chg="del">
          <pc:chgData name="Vikesh Chugani" userId="9c759398cfaae00f" providerId="LiveId" clId="{33B8D6B8-EAFF-44E7-B595-455A352A0DF0}" dt="2024-08-19T11:45:37.534" v="1" actId="47"/>
          <pc:sldLayoutMkLst>
            <pc:docMk/>
            <pc:sldMasterMk cId="2118750587" sldId="2147483790"/>
            <pc:sldLayoutMk cId="3222609823" sldId="2147483806"/>
          </pc:sldLayoutMkLst>
        </pc:sldLayoutChg>
        <pc:sldLayoutChg chg="del">
          <pc:chgData name="Vikesh Chugani" userId="9c759398cfaae00f" providerId="LiveId" clId="{33B8D6B8-EAFF-44E7-B595-455A352A0DF0}" dt="2024-08-19T11:45:37.534" v="1" actId="47"/>
          <pc:sldLayoutMkLst>
            <pc:docMk/>
            <pc:sldMasterMk cId="2118750587" sldId="2147483790"/>
            <pc:sldLayoutMk cId="3692834699" sldId="2147483807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E8C4C6-63C0-4918-B94E-5BD8B58D0F90}" type="datetimeFigureOut">
              <a:rPr lang="en-GB" smtClean="0"/>
              <a:t>20/08/2024</a:t>
            </a:fld>
            <a:endParaRPr lang="en-GB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C056A1-C206-433D-8407-CA5E6321BCE3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72955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79F57FF-C19F-4C13-8D33-E3160A304BC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65974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C056A1-C206-433D-8407-CA5E6321BCE3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43399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9F57FF-C19F-4C13-8D33-E3160A304BC4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15036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6.jpg"/><Relationship Id="rId4" Type="http://schemas.openxmlformats.org/officeDocument/2006/relationships/image" Target="../media/image5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7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haltsfoli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7937298"/>
              </p:ext>
            </p:extLst>
          </p:nvPr>
        </p:nvGraphicFramePr>
        <p:xfrm>
          <a:off x="3178" y="2384"/>
          <a:ext cx="3174" cy="23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25" imgH="426" progId="TCLayout.ActiveDocument.1">
                  <p:embed/>
                </p:oleObj>
              </mc:Choice>
              <mc:Fallback>
                <p:oleObj name="Diapositiva de think-cell" r:id="rId3" imgW="425" imgH="42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8" y="2384"/>
                        <a:ext cx="3174" cy="23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2"/>
          <p:cNvSpPr>
            <a:spLocks noGrp="1"/>
          </p:cNvSpPr>
          <p:nvPr>
            <p:ph idx="1" hasCustomPrompt="1"/>
          </p:nvPr>
        </p:nvSpPr>
        <p:spPr>
          <a:xfrm>
            <a:off x="792001" y="2700001"/>
            <a:ext cx="16703999" cy="62100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rtl="0">
              <a:lnSpc>
                <a:spcPts val="3449"/>
              </a:lnSpc>
              <a:spcBef>
                <a:spcPts val="0"/>
              </a:spcBef>
              <a:defRPr sz="2999">
                <a:latin typeface="+mn-lt"/>
              </a:defRPr>
            </a:lvl1pPr>
            <a:lvl2pPr rtl="0">
              <a:lnSpc>
                <a:spcPts val="3449"/>
              </a:lnSpc>
              <a:spcBef>
                <a:spcPts val="0"/>
              </a:spcBef>
              <a:defRPr sz="2699">
                <a:latin typeface="+mn-lt"/>
              </a:defRPr>
            </a:lvl2pPr>
            <a:lvl3pPr rtl="0">
              <a:lnSpc>
                <a:spcPts val="3449"/>
              </a:lnSpc>
              <a:spcBef>
                <a:spcPts val="0"/>
              </a:spcBef>
              <a:defRPr sz="2699">
                <a:latin typeface="+mn-lt"/>
              </a:defRPr>
            </a:lvl3pPr>
            <a:lvl4pPr rtl="0">
              <a:lnSpc>
                <a:spcPts val="3449"/>
              </a:lnSpc>
              <a:spcBef>
                <a:spcPts val="0"/>
              </a:spcBef>
              <a:defRPr sz="2699">
                <a:latin typeface="+mn-lt"/>
              </a:defRPr>
            </a:lvl4pPr>
            <a:lvl5pPr rtl="0">
              <a:lnSpc>
                <a:spcPts val="3449"/>
              </a:lnSpc>
              <a:spcBef>
                <a:spcPts val="0"/>
              </a:spcBef>
              <a:defRPr sz="2699">
                <a:latin typeface="+mn-lt"/>
              </a:defRPr>
            </a:lvl5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Ebene</a:t>
            </a:r>
          </a:p>
          <a:p>
            <a:pPr lvl="2"/>
            <a:r>
              <a:rPr lang="en-US" dirty="0" err="1"/>
              <a:t>Dritte</a:t>
            </a:r>
            <a:r>
              <a:rPr lang="en-US" dirty="0"/>
              <a:t> Ebene</a:t>
            </a:r>
          </a:p>
          <a:p>
            <a:pPr lvl="3"/>
            <a:r>
              <a:rPr lang="en-US" dirty="0" err="1"/>
              <a:t>Vierte</a:t>
            </a:r>
            <a:r>
              <a:rPr lang="en-US" dirty="0"/>
              <a:t> Ebene</a:t>
            </a:r>
          </a:p>
          <a:p>
            <a:pPr lvl="4"/>
            <a:r>
              <a:rPr lang="en-US" dirty="0" err="1"/>
              <a:t>Fünfte</a:t>
            </a:r>
            <a:r>
              <a:rPr lang="en-US" dirty="0"/>
              <a:t> Ebene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91073" y="1579105"/>
            <a:ext cx="16703999" cy="486000"/>
          </a:xfrm>
        </p:spPr>
        <p:txBody>
          <a:bodyPr>
            <a:noAutofit/>
          </a:bodyPr>
          <a:lstStyle>
            <a:lvl1pPr marL="0" indent="0" algn="ctr" rtl="0">
              <a:lnSpc>
                <a:spcPts val="3449"/>
              </a:lnSpc>
              <a:spcBef>
                <a:spcPts val="0"/>
              </a:spcBef>
              <a:buNone/>
              <a:defRPr sz="2400" b="1" baseline="0">
                <a:latin typeface="+mn-lt"/>
              </a:defRPr>
            </a:lvl1pPr>
            <a:lvl2pPr marL="671513" indent="-271462">
              <a:lnSpc>
                <a:spcPts val="3449"/>
              </a:lnSpc>
              <a:spcBef>
                <a:spcPts val="0"/>
              </a:spcBef>
              <a:defRPr sz="2849">
                <a:latin typeface="+mn-lt"/>
              </a:defRPr>
            </a:lvl2pPr>
            <a:lvl3pPr marL="942975" indent="-271462">
              <a:lnSpc>
                <a:spcPts val="3449"/>
              </a:lnSpc>
              <a:spcBef>
                <a:spcPts val="0"/>
              </a:spcBef>
              <a:defRPr sz="2849">
                <a:latin typeface="+mn-lt"/>
              </a:defRPr>
            </a:lvl3pPr>
            <a:lvl4pPr marL="1214438" indent="-271462">
              <a:lnSpc>
                <a:spcPts val="3449"/>
              </a:lnSpc>
              <a:spcBef>
                <a:spcPts val="0"/>
              </a:spcBef>
              <a:defRPr sz="2849">
                <a:latin typeface="+mn-lt"/>
              </a:defRPr>
            </a:lvl4pPr>
            <a:lvl5pPr marL="1485900" indent="-271462">
              <a:lnSpc>
                <a:spcPts val="3449"/>
              </a:lnSpc>
              <a:spcBef>
                <a:spcPts val="0"/>
              </a:spcBef>
              <a:defRPr sz="2849">
                <a:latin typeface="+mn-lt"/>
              </a:defRPr>
            </a:lvl5pPr>
          </a:lstStyle>
          <a:p>
            <a:pPr lvl="0"/>
            <a:r>
              <a:rPr lang="en-US" dirty="0" err="1"/>
              <a:t>Grafik</a:t>
            </a:r>
            <a:r>
              <a:rPr lang="en-US" dirty="0"/>
              <a:t>, Datum</a:t>
            </a:r>
          </a:p>
        </p:txBody>
      </p:sp>
      <p:sp>
        <p:nvSpPr>
          <p:cNvPr id="11" name="Titel 7"/>
          <p:cNvSpPr>
            <a:spLocks noGrp="1"/>
          </p:cNvSpPr>
          <p:nvPr>
            <p:ph type="title" hasCustomPrompt="1"/>
          </p:nvPr>
        </p:nvSpPr>
        <p:spPr>
          <a:xfrm>
            <a:off x="790577" y="327496"/>
            <a:ext cx="14114064" cy="927573"/>
          </a:xfrm>
          <a:prstGeom prst="rect">
            <a:avLst/>
          </a:prstGeom>
        </p:spPr>
        <p:txBody>
          <a:bodyPr vert="horz"/>
          <a:lstStyle>
            <a:lvl1pPr rtl="0">
              <a:defRPr sz="2999" baseline="0">
                <a:solidFill>
                  <a:srgbClr val="4B4B4B"/>
                </a:solidFill>
                <a:latin typeface="+mj-lt"/>
              </a:defRPr>
            </a:lvl1pPr>
          </a:lstStyle>
          <a:p>
            <a:r>
              <a:rPr lang="en-US" dirty="0" err="1"/>
              <a:t>Überschrift</a:t>
            </a:r>
            <a:r>
              <a:rPr lang="en-US" dirty="0"/>
              <a:t> 20p Calibri</a:t>
            </a:r>
          </a:p>
        </p:txBody>
      </p:sp>
    </p:spTree>
    <p:extLst>
      <p:ext uri="{BB962C8B-B14F-4D97-AF65-F5344CB8AC3E}">
        <p14:creationId xmlns:p14="http://schemas.microsoft.com/office/powerpoint/2010/main" val="2595545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452A3C5-6C45-56DC-CE44-2997756548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7137055"/>
              </p:ext>
            </p:extLst>
          </p:nvPr>
        </p:nvGraphicFramePr>
        <p:xfrm>
          <a:off x="2382" y="2382"/>
          <a:ext cx="2382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60" imgH="360" progId="TCLayout.ActiveDocument.1">
                  <p:embed/>
                </p:oleObj>
              </mc:Choice>
              <mc:Fallback>
                <p:oleObj name="Diapositiva de think-cell" r:id="rId3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452A3C5-6C45-56DC-CE44-2997756548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" y="1865"/>
            <a:ext cx="18287994" cy="10283276"/>
          </a:xfrm>
          <a:prstGeom prst="rect">
            <a:avLst/>
          </a:prstGeom>
        </p:spPr>
      </p:pic>
      <p:sp>
        <p:nvSpPr>
          <p:cNvPr id="6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223120" y="3113489"/>
            <a:ext cx="15841761" cy="2462062"/>
          </a:xfrm>
        </p:spPr>
        <p:txBody>
          <a:bodyPr anchor="b" anchorCtr="0">
            <a:normAutofit/>
          </a:bodyPr>
          <a:lstStyle>
            <a:lvl1pPr marL="0" indent="0" algn="l" rtl="0">
              <a:lnSpc>
                <a:spcPts val="6248"/>
              </a:lnSpc>
              <a:buFontTx/>
              <a:buNone/>
              <a:defRPr sz="6299" b="1" spc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816213" indent="0">
              <a:buFontTx/>
              <a:buNone/>
              <a:defRPr/>
            </a:lvl2pPr>
            <a:lvl3pPr marL="1632426" indent="0">
              <a:buFontTx/>
              <a:buNone/>
              <a:defRPr/>
            </a:lvl3pPr>
            <a:lvl4pPr marL="2448640" indent="0">
              <a:buFontTx/>
              <a:buNone/>
              <a:defRPr/>
            </a:lvl4pPr>
            <a:lvl5pPr marL="3264853" indent="0">
              <a:buFontTx/>
              <a:buNone/>
              <a:defRPr/>
            </a:lvl5pPr>
          </a:lstStyle>
          <a:p>
            <a:pPr lvl="0"/>
            <a:r>
              <a:rPr lang="en-US" dirty="0"/>
              <a:t>Headline der </a:t>
            </a:r>
            <a:r>
              <a:rPr lang="en-US" dirty="0" err="1"/>
              <a:t>Präsentation</a:t>
            </a:r>
            <a:endParaRPr lang="en-US" dirty="0"/>
          </a:p>
        </p:txBody>
      </p:sp>
      <p:sp>
        <p:nvSpPr>
          <p:cNvPr id="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1223126" y="5575549"/>
            <a:ext cx="15841758" cy="2376264"/>
          </a:xfrm>
        </p:spPr>
        <p:txBody>
          <a:bodyPr>
            <a:normAutofit/>
          </a:bodyPr>
          <a:lstStyle>
            <a:lvl1pPr marL="0" indent="0" rtl="0">
              <a:buFontTx/>
              <a:buNone/>
              <a:defRPr sz="3299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Unterzei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5853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haltsfoli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415619"/>
              </p:ext>
            </p:extLst>
          </p:nvPr>
        </p:nvGraphicFramePr>
        <p:xfrm>
          <a:off x="2382" y="2382"/>
          <a:ext cx="2382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60" imgH="360" progId="TCLayout.ActiveDocument.1">
                  <p:embed/>
                </p:oleObj>
              </mc:Choice>
              <mc:Fallback>
                <p:oleObj name="Diapositiva de think-cell" r:id="rId3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91073" y="1579930"/>
            <a:ext cx="16670525" cy="486000"/>
          </a:xfrm>
        </p:spPr>
        <p:txBody>
          <a:bodyPr>
            <a:noAutofit/>
          </a:bodyPr>
          <a:lstStyle>
            <a:lvl1pPr marL="0" indent="0" rtl="0">
              <a:lnSpc>
                <a:spcPts val="4106"/>
              </a:lnSpc>
              <a:spcBef>
                <a:spcPts val="0"/>
              </a:spcBef>
              <a:buNone/>
              <a:defRPr sz="2999" b="1" baseline="0">
                <a:latin typeface="+mn-lt"/>
              </a:defRPr>
            </a:lvl1pPr>
            <a:lvl2pPr marL="79920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2pPr>
            <a:lvl3pPr marL="1122293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3pPr>
            <a:lvl4pPr marL="144537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4pPr>
            <a:lvl5pPr marL="1768461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5pPr>
          </a:lstStyle>
          <a:p>
            <a:pPr lvl="0"/>
            <a:r>
              <a:rPr lang="en-GB" dirty="0" err="1"/>
              <a:t>Dicke</a:t>
            </a:r>
            <a:r>
              <a:rPr lang="en-GB" dirty="0"/>
              <a:t> </a:t>
            </a:r>
            <a:r>
              <a:rPr lang="en-GB" dirty="0" err="1"/>
              <a:t>Überschrift</a:t>
            </a:r>
            <a:r>
              <a:rPr lang="en-GB" dirty="0"/>
              <a:t> </a:t>
            </a:r>
            <a:r>
              <a:rPr lang="en-GB" dirty="0" err="1"/>
              <a:t>mit</a:t>
            </a:r>
            <a:r>
              <a:rPr lang="en-GB" dirty="0"/>
              <a:t> 20pt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91073" y="2"/>
            <a:ext cx="11377656" cy="1553406"/>
          </a:xfrm>
        </p:spPr>
        <p:txBody>
          <a:bodyPr anchor="ctr" anchorCtr="0">
            <a:noAutofit/>
          </a:bodyPr>
          <a:lstStyle>
            <a:lvl1pPr marL="0" indent="0" rtl="0">
              <a:buNone/>
              <a:defRPr sz="3749" b="1"/>
            </a:lvl1pPr>
            <a:lvl2pPr marL="646168" indent="0">
              <a:buNone/>
              <a:defRPr sz="3749" b="1"/>
            </a:lvl2pPr>
            <a:lvl3pPr marL="1122293" indent="0">
              <a:buNone/>
              <a:defRPr sz="3749" b="1"/>
            </a:lvl3pPr>
            <a:lvl4pPr marL="1598416" indent="0">
              <a:buNone/>
              <a:defRPr sz="3749" b="1"/>
            </a:lvl4pPr>
            <a:lvl5pPr marL="2074541" indent="0">
              <a:buNone/>
              <a:defRPr sz="3749" b="1"/>
            </a:lvl5pPr>
          </a:lstStyle>
          <a:p>
            <a:pPr lvl="0"/>
            <a:r>
              <a:rPr lang="en-GB" dirty="0"/>
              <a:t>1-spaltige </a:t>
            </a:r>
            <a:r>
              <a:rPr lang="en-GB" dirty="0" err="1"/>
              <a:t>Überschrift</a:t>
            </a:r>
            <a:br>
              <a:rPr lang="en-GB" dirty="0"/>
            </a:br>
            <a:r>
              <a:rPr lang="en-GB" dirty="0"/>
              <a:t>2-spaltige </a:t>
            </a:r>
            <a:r>
              <a:rPr lang="en-GB" dirty="0" err="1"/>
              <a:t>Überschrift</a:t>
            </a:r>
            <a:r>
              <a:rPr lang="en-GB" dirty="0"/>
              <a:t> </a:t>
            </a:r>
            <a:r>
              <a:rPr lang="en-GB" dirty="0" err="1"/>
              <a:t>mit</a:t>
            </a:r>
            <a:r>
              <a:rPr lang="en-GB" dirty="0"/>
              <a:t> 25 pt.</a:t>
            </a:r>
          </a:p>
        </p:txBody>
      </p:sp>
    </p:spTree>
    <p:extLst>
      <p:ext uri="{BB962C8B-B14F-4D97-AF65-F5344CB8AC3E}">
        <p14:creationId xmlns:p14="http://schemas.microsoft.com/office/powerpoint/2010/main" val="2486692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0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0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0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0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0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0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57DD098-FD83-F8FC-DC2A-27EF6E2B16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608824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7" imgW="454" imgH="454" progId="TCLayout.ActiveDocument.1">
                  <p:embed/>
                </p:oleObj>
              </mc:Choice>
              <mc:Fallback>
                <p:oleObj name="Diapositiva de think-cell" r:id="rId17" imgW="454" imgH="454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7DD098-FD83-F8FC-DC2A-27EF6E2B16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8/2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" name="Freeform 2">
            <a:extLst>
              <a:ext uri="{FF2B5EF4-FFF2-40B4-BE49-F238E27FC236}">
                <a16:creationId xmlns:a16="http://schemas.microsoft.com/office/drawing/2014/main" id="{CF168B63-A5B2-7A4A-121E-58F90DDD983D}"/>
              </a:ext>
            </a:extLst>
          </p:cNvPr>
          <p:cNvSpPr/>
          <p:nvPr userDrawn="1"/>
        </p:nvSpPr>
        <p:spPr>
          <a:xfrm>
            <a:off x="12221817" y="9040070"/>
            <a:ext cx="5037483" cy="850092"/>
          </a:xfrm>
          <a:custGeom>
            <a:avLst/>
            <a:gdLst/>
            <a:ahLst/>
            <a:cxnLst/>
            <a:rect l="l" t="t" r="r" b="b"/>
            <a:pathLst>
              <a:path w="5037483" h="850092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>
            <a:blip r:embed="rId19"/>
            <a:stretch>
              <a:fillRect/>
            </a:stretch>
          </a:blipFill>
        </p:spPr>
        <p:txBody>
          <a:bodyPr/>
          <a:lstStyle/>
          <a:p>
            <a:endParaRPr lang="pl-PL"/>
          </a:p>
        </p:txBody>
      </p:sp>
      <p:sp>
        <p:nvSpPr>
          <p:cNvPr id="8" name="Freeform 3">
            <a:extLst>
              <a:ext uri="{FF2B5EF4-FFF2-40B4-BE49-F238E27FC236}">
                <a16:creationId xmlns:a16="http://schemas.microsoft.com/office/drawing/2014/main" id="{1876BB7E-02D3-321F-9472-A6FA2C9EDF7D}"/>
              </a:ext>
            </a:extLst>
          </p:cNvPr>
          <p:cNvSpPr/>
          <p:nvPr userDrawn="1"/>
        </p:nvSpPr>
        <p:spPr>
          <a:xfrm>
            <a:off x="1028700" y="9040070"/>
            <a:ext cx="2257552" cy="951609"/>
          </a:xfrm>
          <a:custGeom>
            <a:avLst/>
            <a:gdLst/>
            <a:ahLst/>
            <a:cxnLst/>
            <a:rect l="l" t="t" r="r" b="b"/>
            <a:pathLst>
              <a:path w="2257552" h="951609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>
            <a:blip r:embed="rId20"/>
            <a:stretch>
              <a:fillRect/>
            </a:stretch>
          </a:blipFill>
        </p:spPr>
        <p:txBody>
          <a:bodyPr/>
          <a:lstStyle/>
          <a:p>
            <a:endParaRPr lang="pl-P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  <p:sldLayoutId id="2147483665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240" userDrawn="1">
          <p15:clr>
            <a:srgbClr val="F26B43"/>
          </p15:clr>
        </p15:guide>
        <p15:guide id="2" pos="57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.x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8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C3AECE-BE98-69AD-880D-228362E985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3556958"/>
              </p:ext>
            </p:extLst>
          </p:nvPr>
        </p:nvGraphicFramePr>
        <p:xfrm>
          <a:off x="5689" y="2381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60" imgH="360" progId="TCLayout.ActiveDocument.1">
                  <p:embed/>
                </p:oleObj>
              </mc:Choice>
              <mc:Fallback>
                <p:oleObj name="Diapositiva de think-cell" r:id="rId4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C3AECE-BE98-69AD-880D-228362E985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689" y="2381"/>
                        <a:ext cx="2381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6">
            <a:extLst>
              <a:ext uri="{FF2B5EF4-FFF2-40B4-BE49-F238E27FC236}">
                <a16:creationId xmlns:a16="http://schemas.microsoft.com/office/drawing/2014/main" id="{6BBAF6C7-1F85-2733-EF3A-9939467E0E1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8419"/>
          <a:stretch/>
        </p:blipFill>
        <p:spPr>
          <a:xfrm>
            <a:off x="-4573" y="-1"/>
            <a:ext cx="18289267" cy="10287001"/>
          </a:xfrm>
          <a:prstGeom prst="rect">
            <a:avLst/>
          </a:prstGeom>
        </p:spPr>
      </p:pic>
      <p:sp>
        <p:nvSpPr>
          <p:cNvPr id="4" name="Rechteck 6">
            <a:extLst>
              <a:ext uri="{FF2B5EF4-FFF2-40B4-BE49-F238E27FC236}">
                <a16:creationId xmlns:a16="http://schemas.microsoft.com/office/drawing/2014/main" id="{576B4E36-E28E-67AE-7171-75E509D56152}"/>
              </a:ext>
            </a:extLst>
          </p:cNvPr>
          <p:cNvSpPr/>
          <p:nvPr/>
        </p:nvSpPr>
        <p:spPr>
          <a:xfrm>
            <a:off x="-4572" y="-1"/>
            <a:ext cx="18289264" cy="10287001"/>
          </a:xfrm>
          <a:prstGeom prst="rect">
            <a:avLst/>
          </a:prstGeom>
          <a:solidFill>
            <a:srgbClr val="000000">
              <a:alpha val="40000"/>
            </a:srgbClr>
          </a:solidFill>
        </p:spPr>
        <p:txBody>
          <a:bodyPr wrap="square" lIns="1079750" tIns="0" bIns="269938" anchor="ctr" anchorCtr="0">
            <a:noAutofit/>
          </a:bodyPr>
          <a:lstStyle/>
          <a:p>
            <a:endParaRPr lang="en-US" sz="5999" noProof="1">
              <a:solidFill>
                <a:schemeClr val="bg1"/>
              </a:solidFill>
              <a:latin typeface="Bebas Neue" panose="020B0606020202050201" pitchFamily="34" charset="0"/>
            </a:endParaRPr>
          </a:p>
        </p:txBody>
      </p:sp>
      <p:pic>
        <p:nvPicPr>
          <p:cNvPr id="8" name="Grafik 8">
            <a:extLst>
              <a:ext uri="{FF2B5EF4-FFF2-40B4-BE49-F238E27FC236}">
                <a16:creationId xmlns:a16="http://schemas.microsoft.com/office/drawing/2014/main" id="{5877FC00-37F6-374B-6925-237CF661F79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75298" y="284085"/>
            <a:ext cx="2267727" cy="1075382"/>
          </a:xfrm>
          <a:prstGeom prst="rect">
            <a:avLst/>
          </a:prstGeom>
        </p:spPr>
      </p:pic>
      <p:sp>
        <p:nvSpPr>
          <p:cNvPr id="9" name="Titel 6">
            <a:extLst>
              <a:ext uri="{FF2B5EF4-FFF2-40B4-BE49-F238E27FC236}">
                <a16:creationId xmlns:a16="http://schemas.microsoft.com/office/drawing/2014/main" id="{798F5ABF-7D4F-940B-BE3B-7C6C23E76C8D}"/>
              </a:ext>
            </a:extLst>
          </p:cNvPr>
          <p:cNvSpPr txBox="1">
            <a:spLocks/>
          </p:cNvSpPr>
          <p:nvPr/>
        </p:nvSpPr>
        <p:spPr>
          <a:xfrm>
            <a:off x="3308" y="5899409"/>
            <a:ext cx="18281385" cy="2339276"/>
          </a:xfrm>
          <a:prstGeom prst="rect">
            <a:avLst/>
          </a:prstGeom>
          <a:solidFill>
            <a:schemeClr val="accent1">
              <a:lumMod val="60000"/>
              <a:lumOff val="40000"/>
              <a:alpha val="60000"/>
            </a:schemeClr>
          </a:solidFill>
        </p:spPr>
        <p:txBody>
          <a:bodyPr vert="horz" lIns="863800" tIns="269938" rIns="539875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000" b="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371326">
              <a:defRPr/>
            </a:pPr>
            <a:r>
              <a:rPr lang="en-US" sz="8098" b="1" dirty="0">
                <a:latin typeface="+mn-lt"/>
                <a:cs typeface="Calibri Light" panose="020F0302020204030204" pitchFamily="34" charset="0"/>
              </a:rPr>
              <a:t>Practice</a:t>
            </a:r>
          </a:p>
        </p:txBody>
      </p:sp>
    </p:spTree>
    <p:extLst>
      <p:ext uri="{BB962C8B-B14F-4D97-AF65-F5344CB8AC3E}">
        <p14:creationId xmlns:p14="http://schemas.microsoft.com/office/powerpoint/2010/main" val="1363970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248C07E-4E15-FD0D-596D-A23F1243B2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5689" y="2381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08" imgH="408" progId="TCLayout.ActiveDocument.1">
                  <p:embed/>
                </p:oleObj>
              </mc:Choice>
              <mc:Fallback>
                <p:oleObj name="Diapositiva de think-cell" r:id="rId4" imgW="408" imgH="40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248C07E-4E15-FD0D-596D-A23F1243B2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689" y="2381"/>
                        <a:ext cx="2381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2999" dirty="0"/>
              <a:t>Practice</a:t>
            </a:r>
          </a:p>
        </p:txBody>
      </p:sp>
      <p:sp>
        <p:nvSpPr>
          <p:cNvPr id="35" name="Pfeil nach rechts 34"/>
          <p:cNvSpPr/>
          <p:nvPr/>
        </p:nvSpPr>
        <p:spPr bwMode="gray">
          <a:xfrm flipH="1">
            <a:off x="5392445" y="4689851"/>
            <a:ext cx="7403308" cy="242887"/>
          </a:xfrm>
          <a:prstGeom prst="rightArrow">
            <a:avLst>
              <a:gd name="adj1" fmla="val 50000"/>
              <a:gd name="adj2" fmla="val 170588"/>
            </a:avLst>
          </a:prstGeom>
          <a:solidFill>
            <a:schemeClr val="accent3"/>
          </a:soli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algn="ctr" defTabSz="1371600">
              <a:defRPr/>
            </a:pPr>
            <a:endParaRPr lang="de-DE" sz="2400" kern="0" dirty="0">
              <a:solidFill>
                <a:srgbClr val="4B4B4B"/>
              </a:solidFill>
              <a:latin typeface="+mj-lt"/>
            </a:endParaRPr>
          </a:p>
        </p:txBody>
      </p:sp>
      <p:sp>
        <p:nvSpPr>
          <p:cNvPr id="36" name="Rechteck 35"/>
          <p:cNvSpPr/>
          <p:nvPr/>
        </p:nvSpPr>
        <p:spPr bwMode="gray">
          <a:xfrm>
            <a:off x="1152962" y="3657343"/>
            <a:ext cx="3779125" cy="1448072"/>
          </a:xfrm>
          <a:prstGeom prst="rect">
            <a:avLst/>
          </a:prstGeom>
          <a:gradFill flip="none" rotWithShape="1">
            <a:gsLst>
              <a:gs pos="0">
                <a:srgbClr val="023D6B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 w="12700">
            <a:noFill/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 anchorCtr="0"/>
          <a:lstStyle/>
          <a:p>
            <a:pPr algn="ctr" defTabSz="1371600">
              <a:buClr>
                <a:srgbClr val="969696"/>
              </a:buClr>
              <a:defRPr/>
            </a:pPr>
            <a:r>
              <a:rPr lang="de-DE" sz="2100" b="1" kern="0" noProof="1">
                <a:solidFill>
                  <a:srgbClr val="FFFFFF"/>
                </a:solidFill>
                <a:latin typeface="+mj-lt"/>
                <a:cs typeface="Arial" charset="0"/>
              </a:rPr>
              <a:t>Supplier of a </a:t>
            </a:r>
          </a:p>
          <a:p>
            <a:pPr algn="ctr" defTabSz="1371600">
              <a:buClr>
                <a:srgbClr val="969696"/>
              </a:buClr>
              <a:defRPr/>
            </a:pPr>
            <a:r>
              <a:rPr lang="de-DE" sz="2100" b="1" kern="0" noProof="1">
                <a:solidFill>
                  <a:srgbClr val="FFFFFF"/>
                </a:solidFill>
                <a:latin typeface="+mj-lt"/>
                <a:cs typeface="Arial" charset="0"/>
              </a:rPr>
              <a:t>product or service</a:t>
            </a:r>
          </a:p>
        </p:txBody>
      </p:sp>
      <p:sp>
        <p:nvSpPr>
          <p:cNvPr id="37" name="Rechteck 36"/>
          <p:cNvSpPr/>
          <p:nvPr/>
        </p:nvSpPr>
        <p:spPr bwMode="gray">
          <a:xfrm>
            <a:off x="1152962" y="3067608"/>
            <a:ext cx="3779125" cy="492882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algn="ctr" defTabSz="1371600">
              <a:defRPr/>
            </a:pPr>
            <a:r>
              <a:rPr lang="de-DE" sz="2999" b="1" kern="0" noProof="1">
                <a:solidFill>
                  <a:srgbClr val="4B4B4B"/>
                </a:solidFill>
                <a:latin typeface="+mj-lt"/>
              </a:rPr>
              <a:t>Me</a:t>
            </a:r>
          </a:p>
        </p:txBody>
      </p:sp>
      <p:sp>
        <p:nvSpPr>
          <p:cNvPr id="38" name="Rechteck 37"/>
          <p:cNvSpPr/>
          <p:nvPr/>
        </p:nvSpPr>
        <p:spPr bwMode="gray">
          <a:xfrm>
            <a:off x="13355916" y="3657343"/>
            <a:ext cx="3779125" cy="1448072"/>
          </a:xfrm>
          <a:prstGeom prst="rect">
            <a:avLst/>
          </a:prstGeom>
          <a:gradFill flip="none" rotWithShape="1">
            <a:gsLst>
              <a:gs pos="0">
                <a:srgbClr val="023D6B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 w="12700">
            <a:noFill/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 anchorCtr="0"/>
          <a:lstStyle/>
          <a:p>
            <a:pPr algn="ctr" defTabSz="1371600">
              <a:buClr>
                <a:srgbClr val="969696"/>
              </a:buClr>
              <a:defRPr/>
            </a:pPr>
            <a:r>
              <a:rPr lang="de-DE" sz="2100" b="1" kern="0" noProof="1">
                <a:solidFill>
                  <a:srgbClr val="FFFFFF"/>
                </a:solidFill>
                <a:latin typeface="+mj-lt"/>
                <a:cs typeface="Arial" charset="0"/>
              </a:rPr>
              <a:t>Constituted by customers and interested parties</a:t>
            </a:r>
          </a:p>
        </p:txBody>
      </p:sp>
      <p:sp>
        <p:nvSpPr>
          <p:cNvPr id="39" name="Rechteck 38"/>
          <p:cNvSpPr/>
          <p:nvPr/>
        </p:nvSpPr>
        <p:spPr bwMode="gray">
          <a:xfrm>
            <a:off x="13355913" y="3067608"/>
            <a:ext cx="3779125" cy="492882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algn="ctr" defTabSz="1371600">
              <a:defRPr/>
            </a:pPr>
            <a:r>
              <a:rPr lang="de-DE" sz="2999" b="1" kern="0" noProof="1">
                <a:solidFill>
                  <a:srgbClr val="4B4B4B"/>
                </a:solidFill>
                <a:latin typeface="+mj-lt"/>
              </a:rPr>
              <a:t>Target group</a:t>
            </a:r>
          </a:p>
        </p:txBody>
      </p:sp>
      <p:sp>
        <p:nvSpPr>
          <p:cNvPr id="40" name="Rechteck 39"/>
          <p:cNvSpPr/>
          <p:nvPr/>
        </p:nvSpPr>
        <p:spPr bwMode="gray">
          <a:xfrm>
            <a:off x="5392444" y="3348884"/>
            <a:ext cx="7016210" cy="492882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algn="ctr" defTabSz="1371600">
              <a:defRPr/>
            </a:pPr>
            <a:r>
              <a:rPr lang="de-DE" sz="2400" kern="0" noProof="1">
                <a:solidFill>
                  <a:srgbClr val="4B4B4B"/>
                </a:solidFill>
                <a:latin typeface="+mj-lt"/>
              </a:rPr>
              <a:t>Delivery of a Product / Service</a:t>
            </a:r>
          </a:p>
        </p:txBody>
      </p:sp>
      <p:sp>
        <p:nvSpPr>
          <p:cNvPr id="41" name="Rechteck 40"/>
          <p:cNvSpPr/>
          <p:nvPr/>
        </p:nvSpPr>
        <p:spPr bwMode="gray">
          <a:xfrm>
            <a:off x="7741396" y="4143373"/>
            <a:ext cx="3037115" cy="492882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algn="ctr" defTabSz="1371600">
              <a:defRPr/>
            </a:pPr>
            <a:r>
              <a:rPr lang="de-DE" sz="3599" b="1" kern="0" noProof="1">
                <a:solidFill>
                  <a:schemeClr val="accent1"/>
                </a:solidFill>
                <a:latin typeface="+mj-lt"/>
              </a:rPr>
              <a:t>Transaction</a:t>
            </a:r>
          </a:p>
        </p:txBody>
      </p:sp>
      <p:sp>
        <p:nvSpPr>
          <p:cNvPr id="42" name="Rechteck 41"/>
          <p:cNvSpPr/>
          <p:nvPr/>
        </p:nvSpPr>
        <p:spPr bwMode="gray">
          <a:xfrm>
            <a:off x="5392446" y="4940811"/>
            <a:ext cx="7403306" cy="492882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algn="ctr" defTabSz="1371600">
              <a:defRPr/>
            </a:pPr>
            <a:r>
              <a:rPr lang="de-DE" sz="2400" kern="0" noProof="1">
                <a:solidFill>
                  <a:srgbClr val="4B4B4B"/>
                </a:solidFill>
                <a:latin typeface="+mj-lt"/>
              </a:rPr>
              <a:t>Payment</a:t>
            </a:r>
          </a:p>
        </p:txBody>
      </p:sp>
      <p:sp>
        <p:nvSpPr>
          <p:cNvPr id="43" name="Pfeil nach rechts 42"/>
          <p:cNvSpPr/>
          <p:nvPr/>
        </p:nvSpPr>
        <p:spPr bwMode="gray">
          <a:xfrm>
            <a:off x="5392445" y="3846889"/>
            <a:ext cx="7403308" cy="242887"/>
          </a:xfrm>
          <a:prstGeom prst="rightArrow">
            <a:avLst>
              <a:gd name="adj1" fmla="val 50000"/>
              <a:gd name="adj2" fmla="val 170588"/>
            </a:avLst>
          </a:prstGeom>
          <a:solidFill>
            <a:schemeClr val="accent3"/>
          </a:soli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algn="ctr" defTabSz="1371600">
              <a:defRPr/>
            </a:pPr>
            <a:endParaRPr lang="de-DE" sz="2400" kern="0" dirty="0">
              <a:solidFill>
                <a:srgbClr val="4B4B4B"/>
              </a:solidFill>
              <a:latin typeface="+mj-lt"/>
            </a:endParaRPr>
          </a:p>
        </p:txBody>
      </p:sp>
      <p:sp>
        <p:nvSpPr>
          <p:cNvPr id="44" name="Textfeld 43"/>
          <p:cNvSpPr txBox="1"/>
          <p:nvPr/>
        </p:nvSpPr>
        <p:spPr>
          <a:xfrm>
            <a:off x="1494262" y="2144692"/>
            <a:ext cx="8837595" cy="553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999" dirty="0"/>
              <a:t>Define your transaction</a:t>
            </a:r>
            <a:endParaRPr lang="en-GB" sz="2999" dirty="0"/>
          </a:p>
        </p:txBody>
      </p:sp>
      <p:sp>
        <p:nvSpPr>
          <p:cNvPr id="45" name="Textfeld 44"/>
          <p:cNvSpPr txBox="1"/>
          <p:nvPr/>
        </p:nvSpPr>
        <p:spPr>
          <a:xfrm>
            <a:off x="1494263" y="5498388"/>
            <a:ext cx="15964328" cy="553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999" dirty="0"/>
              <a:t>Calculate market volume / market potential (2 methods)</a:t>
            </a:r>
            <a:endParaRPr lang="en-GB" sz="2999" dirty="0"/>
          </a:p>
        </p:txBody>
      </p:sp>
      <p:sp>
        <p:nvSpPr>
          <p:cNvPr id="47" name="Rechteck 46"/>
          <p:cNvSpPr/>
          <p:nvPr/>
        </p:nvSpPr>
        <p:spPr>
          <a:xfrm>
            <a:off x="803222" y="5448300"/>
            <a:ext cx="691040" cy="69249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5000"/>
              </a:lnSpc>
            </a:pPr>
            <a:r>
              <a:rPr lang="en-GB" sz="3599" dirty="0"/>
              <a:t>2</a:t>
            </a:r>
          </a:p>
        </p:txBody>
      </p:sp>
      <p:sp>
        <p:nvSpPr>
          <p:cNvPr id="55" name="Textfeld 54"/>
          <p:cNvSpPr txBox="1"/>
          <p:nvPr/>
        </p:nvSpPr>
        <p:spPr>
          <a:xfrm>
            <a:off x="13500930" y="8652467"/>
            <a:ext cx="3957660" cy="5307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95000"/>
              </a:lnSpc>
              <a:defRPr sz="2000"/>
            </a:lvl1pPr>
          </a:lstStyle>
          <a:p>
            <a:pPr algn="ctr"/>
            <a:r>
              <a:rPr lang="en-GB" sz="2999" b="1" dirty="0">
                <a:solidFill>
                  <a:srgbClr val="023D6B"/>
                </a:solidFill>
              </a:rPr>
              <a:t>Top-down </a:t>
            </a:r>
          </a:p>
        </p:txBody>
      </p:sp>
      <p:sp>
        <p:nvSpPr>
          <p:cNvPr id="34" name="Rechteck 33"/>
          <p:cNvSpPr/>
          <p:nvPr/>
        </p:nvSpPr>
        <p:spPr>
          <a:xfrm>
            <a:off x="803221" y="6229045"/>
            <a:ext cx="12228312" cy="243275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5000"/>
              </a:lnSpc>
            </a:pPr>
            <a:endParaRPr lang="en-GB" sz="3599" dirty="0" err="1"/>
          </a:p>
        </p:txBody>
      </p:sp>
      <p:pic>
        <p:nvPicPr>
          <p:cNvPr id="48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8158" y="6480527"/>
            <a:ext cx="1301936" cy="1360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49" name="Textfeld 48"/>
          <p:cNvSpPr txBox="1"/>
          <p:nvPr/>
        </p:nvSpPr>
        <p:spPr>
          <a:xfrm>
            <a:off x="8877033" y="6464832"/>
            <a:ext cx="3142142" cy="149579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95000"/>
              </a:lnSpc>
            </a:pPr>
            <a:r>
              <a:rPr lang="en-GB" sz="2400" dirty="0"/>
              <a:t>Reports</a:t>
            </a:r>
          </a:p>
          <a:p>
            <a:pPr>
              <a:lnSpc>
                <a:spcPct val="95000"/>
              </a:lnSpc>
            </a:pPr>
            <a:r>
              <a:rPr lang="en-GB" sz="2400" dirty="0"/>
              <a:t>Company presentations</a:t>
            </a:r>
          </a:p>
          <a:p>
            <a:pPr>
              <a:lnSpc>
                <a:spcPct val="95000"/>
              </a:lnSpc>
            </a:pPr>
            <a:r>
              <a:rPr lang="en-GB" sz="2400" dirty="0"/>
              <a:t>Statistics </a:t>
            </a:r>
          </a:p>
          <a:p>
            <a:pPr>
              <a:lnSpc>
                <a:spcPct val="95000"/>
              </a:lnSpc>
            </a:pPr>
            <a:r>
              <a:rPr lang="en-GB" sz="2400" dirty="0"/>
              <a:t>Graphs</a:t>
            </a:r>
          </a:p>
        </p:txBody>
      </p:sp>
      <p:sp>
        <p:nvSpPr>
          <p:cNvPr id="50" name="Textfeld 49"/>
          <p:cNvSpPr txBox="1"/>
          <p:nvPr/>
        </p:nvSpPr>
        <p:spPr>
          <a:xfrm>
            <a:off x="1073484" y="8094217"/>
            <a:ext cx="11136223" cy="4431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GB" sz="2400" b="1" dirty="0"/>
              <a:t>Start with “[my solution] market (</a:t>
            </a:r>
            <a:r>
              <a:rPr lang="en-GB" sz="2400" b="1" dirty="0" err="1"/>
              <a:t>statista</a:t>
            </a:r>
            <a:r>
              <a:rPr lang="en-GB" sz="2400" b="1" dirty="0"/>
              <a:t>)”</a:t>
            </a:r>
          </a:p>
        </p:txBody>
      </p:sp>
      <p:pic>
        <p:nvPicPr>
          <p:cNvPr id="5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1600" y="6594031"/>
            <a:ext cx="2915649" cy="1133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7" name="Grafik 5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3485" y="6761815"/>
            <a:ext cx="3027205" cy="816326"/>
          </a:xfrm>
          <a:prstGeom prst="rect">
            <a:avLst/>
          </a:prstGeom>
        </p:spPr>
      </p:pic>
      <p:sp>
        <p:nvSpPr>
          <p:cNvPr id="58" name="Textfeld 57"/>
          <p:cNvSpPr txBox="1"/>
          <p:nvPr/>
        </p:nvSpPr>
        <p:spPr>
          <a:xfrm>
            <a:off x="794094" y="8661801"/>
            <a:ext cx="12001660" cy="5307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GB" sz="2999" b="1" dirty="0">
                <a:solidFill>
                  <a:srgbClr val="023D6B"/>
                </a:solidFill>
              </a:rPr>
              <a:t>Market Reports and Estimate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1FB54FDC-8F2A-D2C8-0B37-BBE5FF2CD772}"/>
              </a:ext>
            </a:extLst>
          </p:cNvPr>
          <p:cNvGrpSpPr/>
          <p:nvPr/>
        </p:nvGrpSpPr>
        <p:grpSpPr>
          <a:xfrm>
            <a:off x="13301796" y="6229045"/>
            <a:ext cx="4156795" cy="2423423"/>
            <a:chOff x="7529696" y="4352936"/>
            <a:chExt cx="2639051" cy="1622212"/>
          </a:xfrm>
        </p:grpSpPr>
        <p:sp>
          <p:nvSpPr>
            <p:cNvPr id="33" name="Rechteck 32"/>
            <p:cNvSpPr/>
            <p:nvPr/>
          </p:nvSpPr>
          <p:spPr>
            <a:xfrm>
              <a:off x="7529696" y="4352936"/>
              <a:ext cx="2639051" cy="16222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5000"/>
                </a:lnSpc>
              </a:pPr>
              <a:endParaRPr lang="en-GB" sz="3599" dirty="0" err="1"/>
            </a:p>
          </p:txBody>
        </p:sp>
        <p:pic>
          <p:nvPicPr>
            <p:cNvPr id="59" name="Grafik 58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044638" y="4548850"/>
              <a:ext cx="1659970" cy="1216911"/>
            </a:xfrm>
            <a:prstGeom prst="rect">
              <a:avLst/>
            </a:prstGeom>
          </p:spPr>
        </p:pic>
      </p:grpSp>
      <p:sp>
        <p:nvSpPr>
          <p:cNvPr id="29" name="Rechteck 46">
            <a:extLst>
              <a:ext uri="{FF2B5EF4-FFF2-40B4-BE49-F238E27FC236}">
                <a16:creationId xmlns:a16="http://schemas.microsoft.com/office/drawing/2014/main" id="{8C8A3560-1617-8A50-2887-5A7C5A75E50C}"/>
              </a:ext>
            </a:extLst>
          </p:cNvPr>
          <p:cNvSpPr/>
          <p:nvPr/>
        </p:nvSpPr>
        <p:spPr>
          <a:xfrm>
            <a:off x="803222" y="2095500"/>
            <a:ext cx="691040" cy="69249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5000"/>
              </a:lnSpc>
            </a:pPr>
            <a:r>
              <a:rPr lang="en-GB" sz="3599" dirty="0"/>
              <a:t>1</a:t>
            </a: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38D2E13C-9F34-AFA1-02C3-F2D19A101A8C}"/>
              </a:ext>
            </a:extLst>
          </p:cNvPr>
          <p:cNvSpPr txBox="1">
            <a:spLocks/>
          </p:cNvSpPr>
          <p:nvPr/>
        </p:nvSpPr>
        <p:spPr>
          <a:xfrm>
            <a:off x="829411" y="1"/>
            <a:ext cx="13713940" cy="1553406"/>
          </a:xfrm>
          <a:prstGeom prst="rect">
            <a:avLst/>
          </a:prstGeom>
        </p:spPr>
        <p:txBody>
          <a:bodyPr anchor="ctr"/>
          <a:lstStyle>
            <a:lvl1pPr marL="215433" indent="-215433" algn="l" defTabSz="1088502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646298" indent="-215433" algn="l" defTabSz="1088502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963778" indent="-215433" algn="l" defTabSz="1088502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1281257" indent="-215433" algn="l" defTabSz="1088502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1598737" indent="-215433" algn="l" defTabSz="1088502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2993380" indent="-272125" algn="l" defTabSz="10885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631" indent="-272125" algn="l" defTabSz="10885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1882" indent="-272125" algn="l" defTabSz="10885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132" indent="-272125" algn="l" defTabSz="10885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749" b="1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C68958B-7931-EAE7-5A8A-4192A96E64BD}"/>
              </a:ext>
            </a:extLst>
          </p:cNvPr>
          <p:cNvSpPr txBox="1">
            <a:spLocks/>
          </p:cNvSpPr>
          <p:nvPr/>
        </p:nvSpPr>
        <p:spPr>
          <a:xfrm>
            <a:off x="829411" y="7203"/>
            <a:ext cx="13713940" cy="1553406"/>
          </a:xfrm>
          <a:prstGeom prst="rect">
            <a:avLst/>
          </a:prstGeom>
        </p:spPr>
        <p:txBody>
          <a:bodyPr anchor="ctr"/>
          <a:lstStyle>
            <a:lvl1pPr marL="215433" indent="-215433" algn="l" defTabSz="1088502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646298" indent="-215433" algn="l" defTabSz="1088502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963778" indent="-215433" algn="l" defTabSz="1088502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1281257" indent="-215433" algn="l" defTabSz="1088502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1598737" indent="-215433" algn="l" defTabSz="1088502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2000" kern="1200">
                <a:solidFill>
                  <a:srgbClr val="4C4C4C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2993380" indent="-272125" algn="l" defTabSz="10885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631" indent="-272125" algn="l" defTabSz="10885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1882" indent="-272125" algn="l" defTabSz="10885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132" indent="-272125" algn="l" defTabSz="10885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>
              <a:spcBef>
                <a:spcPct val="0"/>
              </a:spcBef>
              <a:buNone/>
            </a:pPr>
            <a:r>
              <a:rPr lang="en-US" sz="3600" b="1" dirty="0">
                <a:solidFill>
                  <a:srgbClr val="333089"/>
                </a:solidFill>
                <a:latin typeface="Titillium Web Bold"/>
                <a:cs typeface="+mn-cs"/>
              </a:rPr>
              <a:t>Secondary research collects the initial market information; keep it simple for success! Calculate your market size</a:t>
            </a:r>
          </a:p>
        </p:txBody>
      </p:sp>
    </p:spTree>
    <p:extLst>
      <p:ext uri="{BB962C8B-B14F-4D97-AF65-F5344CB8AC3E}">
        <p14:creationId xmlns:p14="http://schemas.microsoft.com/office/powerpoint/2010/main" val="4257998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5689" y="2381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60" imgH="360" progId="TCLayout.ActiveDocument.1">
                  <p:embed/>
                </p:oleObj>
              </mc:Choice>
              <mc:Fallback>
                <p:oleObj name="Diapositiva de think-cell" r:id="rId4" imgW="360" imgH="36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689" y="2381"/>
                        <a:ext cx="2381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Product Name: ___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794094" y="2262303"/>
            <a:ext cx="7917959" cy="237571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noAutofit/>
          </a:bodyPr>
          <a:lstStyle/>
          <a:p>
            <a:r>
              <a:rPr lang="en-GB" sz="2699" b="1" dirty="0"/>
              <a:t>Product explanation:</a:t>
            </a:r>
          </a:p>
          <a:p>
            <a:pPr marL="428539" indent="-428539">
              <a:buFont typeface="Wingdings" panose="05000000000000000000" pitchFamily="2" charset="2"/>
              <a:buChar char="§"/>
            </a:pPr>
            <a:r>
              <a:rPr lang="en-GB" sz="2400" dirty="0"/>
              <a:t>…</a:t>
            </a:r>
          </a:p>
        </p:txBody>
      </p:sp>
      <p:graphicFrame>
        <p:nvGraphicFramePr>
          <p:cNvPr id="7" name="Tabelle 6"/>
          <p:cNvGraphicFramePr>
            <a:graphicFrameLocks noGrp="1"/>
          </p:cNvGraphicFramePr>
          <p:nvPr/>
        </p:nvGraphicFramePr>
        <p:xfrm>
          <a:off x="794094" y="5123900"/>
          <a:ext cx="7917958" cy="3718206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518608">
                  <a:extLst>
                    <a:ext uri="{9D8B030D-6E8A-4147-A177-3AD203B41FA5}">
                      <a16:colId xmlns:a16="http://schemas.microsoft.com/office/drawing/2014/main" val="3840107742"/>
                    </a:ext>
                  </a:extLst>
                </a:gridCol>
                <a:gridCol w="5399350">
                  <a:extLst>
                    <a:ext uri="{9D8B030D-6E8A-4147-A177-3AD203B41FA5}">
                      <a16:colId xmlns:a16="http://schemas.microsoft.com/office/drawing/2014/main" val="1525360064"/>
                    </a:ext>
                  </a:extLst>
                </a:gridCol>
              </a:tblGrid>
              <a:tr h="556131">
                <a:tc gridSpan="2">
                  <a:txBody>
                    <a:bodyPr/>
                    <a:lstStyle/>
                    <a:p>
                      <a:pPr rtl="0"/>
                      <a:r>
                        <a:rPr lang="en-GB" sz="2700" b="1" dirty="0"/>
                        <a:t>Market definition and segmentation:</a:t>
                      </a:r>
                    </a:p>
                  </a:txBody>
                  <a:tcPr marL="137128" marR="137128" marT="68564" marB="68564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 sz="1800" dirty="0"/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226805"/>
                  </a:ext>
                </a:extLst>
              </a:tr>
              <a:tr h="556131">
                <a:tc>
                  <a:txBody>
                    <a:bodyPr/>
                    <a:lstStyle/>
                    <a:p>
                      <a:pPr rtl="0"/>
                      <a:r>
                        <a:rPr lang="en-GB" sz="2400" dirty="0"/>
                        <a:t>Total market</a:t>
                      </a:r>
                    </a:p>
                  </a:txBody>
                  <a:tcPr marL="137128" marR="137128" marT="68564" marB="68564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2700" dirty="0"/>
                    </a:p>
                  </a:txBody>
                  <a:tcPr marL="137128" marR="137128" marT="68564" marB="68564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9988987"/>
                  </a:ext>
                </a:extLst>
              </a:tr>
              <a:tr h="868479">
                <a:tc>
                  <a:txBody>
                    <a:bodyPr/>
                    <a:lstStyle/>
                    <a:p>
                      <a:pPr rtl="0"/>
                      <a:r>
                        <a:rPr lang="en-GB" sz="2400" dirty="0"/>
                        <a:t>Total addressable market</a:t>
                      </a:r>
                    </a:p>
                  </a:txBody>
                  <a:tcPr marL="137128" marR="137128" marT="68564" marB="68564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2700" dirty="0"/>
                    </a:p>
                  </a:txBody>
                  <a:tcPr marL="137128" marR="137128" marT="68564" marB="68564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5929833"/>
                  </a:ext>
                </a:extLst>
              </a:tr>
              <a:tr h="868479">
                <a:tc>
                  <a:txBody>
                    <a:bodyPr/>
                    <a:lstStyle/>
                    <a:p>
                      <a:pPr rtl="0"/>
                      <a:r>
                        <a:rPr lang="en-GB" sz="2400" dirty="0"/>
                        <a:t>Possible market segments</a:t>
                      </a:r>
                    </a:p>
                  </a:txBody>
                  <a:tcPr marL="137128" marR="137128" marT="68564" marB="68564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2700" dirty="0"/>
                    </a:p>
                  </a:txBody>
                  <a:tcPr marL="137128" marR="137128" marT="68564" marB="68564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8149119"/>
                  </a:ext>
                </a:extLst>
              </a:tr>
              <a:tr h="868479">
                <a:tc>
                  <a:txBody>
                    <a:bodyPr/>
                    <a:lstStyle/>
                    <a:p>
                      <a:pPr rtl="0"/>
                      <a:r>
                        <a:rPr lang="en-GB" sz="2400" dirty="0"/>
                        <a:t>Selected market segment</a:t>
                      </a:r>
                    </a:p>
                  </a:txBody>
                  <a:tcPr marL="137128" marR="137128" marT="68564" marB="68564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2700" dirty="0"/>
                    </a:p>
                  </a:txBody>
                  <a:tcPr marL="137128" marR="137128" marT="68564" marB="68564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171721"/>
                  </a:ext>
                </a:extLst>
              </a:tr>
            </a:tbl>
          </a:graphicData>
        </a:graphic>
      </p:graphicFrame>
      <p:sp>
        <p:nvSpPr>
          <p:cNvPr id="8" name="Textfeld 7"/>
          <p:cNvSpPr txBox="1"/>
          <p:nvPr/>
        </p:nvSpPr>
        <p:spPr>
          <a:xfrm>
            <a:off x="9538624" y="2262302"/>
            <a:ext cx="7919967" cy="65792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noAutofit/>
          </a:bodyPr>
          <a:lstStyle/>
          <a:p>
            <a:r>
              <a:rPr lang="en-GB" sz="2699" b="1" dirty="0"/>
              <a:t>Market estimation </a:t>
            </a:r>
          </a:p>
          <a:p>
            <a:pPr marL="428539" indent="-428539">
              <a:buFont typeface="Wingdings" panose="05000000000000000000" pitchFamily="2" charset="2"/>
              <a:buChar char="§"/>
            </a:pPr>
            <a:r>
              <a:rPr lang="en-GB" sz="2400" dirty="0"/>
              <a:t>Sources found/used</a:t>
            </a:r>
          </a:p>
          <a:p>
            <a:pPr marL="428539" indent="-428539">
              <a:buFont typeface="Wingdings" panose="05000000000000000000" pitchFamily="2" charset="2"/>
              <a:buChar char="§"/>
            </a:pPr>
            <a:r>
              <a:rPr lang="en-GB" sz="2400" dirty="0"/>
              <a:t>Assumptions made</a:t>
            </a:r>
          </a:p>
          <a:p>
            <a:pPr marL="428539" indent="-428539">
              <a:buFont typeface="Wingdings" panose="05000000000000000000" pitchFamily="2" charset="2"/>
              <a:buChar char="§"/>
            </a:pPr>
            <a:r>
              <a:rPr lang="en-GB" sz="2400" dirty="0"/>
              <a:t>…</a:t>
            </a:r>
          </a:p>
          <a:p>
            <a:pPr marL="428539" indent="-428539">
              <a:buFont typeface="Wingdings" panose="05000000000000000000" pitchFamily="2" charset="2"/>
              <a:buChar char="§"/>
            </a:pPr>
            <a:r>
              <a:rPr lang="en-GB" sz="2400" dirty="0"/>
              <a:t>Result: </a:t>
            </a:r>
            <a:r>
              <a:rPr lang="en-GB" sz="2400" dirty="0" err="1"/>
              <a:t>xy</a:t>
            </a:r>
            <a:r>
              <a:rPr lang="en-GB" sz="2400" dirty="0"/>
              <a:t> € per year</a:t>
            </a:r>
          </a:p>
        </p:txBody>
      </p:sp>
      <p:sp>
        <p:nvSpPr>
          <p:cNvPr id="9" name="Ellipse 8"/>
          <p:cNvSpPr/>
          <p:nvPr/>
        </p:nvSpPr>
        <p:spPr>
          <a:xfrm>
            <a:off x="397053" y="533704"/>
            <a:ext cx="539935" cy="486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699" b="1" dirty="0"/>
              <a:t>1</a:t>
            </a:r>
          </a:p>
        </p:txBody>
      </p:sp>
      <p:sp>
        <p:nvSpPr>
          <p:cNvPr id="10" name="Ellipse 9"/>
          <p:cNvSpPr/>
          <p:nvPr/>
        </p:nvSpPr>
        <p:spPr>
          <a:xfrm>
            <a:off x="524126" y="2019301"/>
            <a:ext cx="539935" cy="486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699" b="1" dirty="0"/>
              <a:t>2</a:t>
            </a:r>
          </a:p>
        </p:txBody>
      </p:sp>
      <p:sp>
        <p:nvSpPr>
          <p:cNvPr id="11" name="Ellipse 10"/>
          <p:cNvSpPr/>
          <p:nvPr/>
        </p:nvSpPr>
        <p:spPr>
          <a:xfrm>
            <a:off x="524126" y="4880900"/>
            <a:ext cx="539935" cy="486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699" b="1" dirty="0"/>
              <a:t>3</a:t>
            </a:r>
          </a:p>
        </p:txBody>
      </p:sp>
      <p:sp>
        <p:nvSpPr>
          <p:cNvPr id="12" name="Ellipse 11"/>
          <p:cNvSpPr/>
          <p:nvPr/>
        </p:nvSpPr>
        <p:spPr>
          <a:xfrm>
            <a:off x="9268657" y="2019300"/>
            <a:ext cx="539935" cy="486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699" b="1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327374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52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5&quot;&gt;&lt;elem m_fUsage=&quot;3.81178040761418701621E+00&quot;&gt;&lt;m_msothmcolidx val=&quot;0&quot;/&gt;&lt;m_rgb r=&quot;37&quot; g=&quot;AA&quot; b=&quot;DC&quot;/&gt;&lt;/elem&gt;&lt;elem m_fUsage=&quot;2.12493167752346989730E+00&quot;&gt;&lt;m_msothmcolidx val=&quot;0&quot;/&gt;&lt;m_rgb r=&quot;1F&quot; g=&quot;84&quot; b=&quot;B0&quot;/&gt;&lt;/elem&gt;&lt;elem m_fUsage=&quot;1.99587291449175907587E+00&quot;&gt;&lt;m_msothmcolidx val=&quot;0&quot;/&gt;&lt;m_rgb r=&quot;B6&quot; g=&quot;CA&quot; b=&quot;00&quot;/&gt;&lt;/elem&gt;&lt;elem m_fUsage=&quot;1.41412783157099997133E+00&quot;&gt;&lt;m_msothmcolidx val=&quot;0&quot;/&gt;&lt;m_rgb r=&quot;0A&quot; g=&quot;73&quot; b=&quot;B4&quot;/&gt;&lt;/elem&gt;&lt;elem m_fUsage=&quot;7.17897987691853145531E-02&quot;&gt;&lt;m_msothmcolidx val=&quot;0&quot;/&gt;&lt;m_rgb r=&quot;5A&quot; g=&quot;64&quot; b=&quot;0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90</TotalTime>
  <Words>124</Words>
  <Application>Microsoft Office PowerPoint</Application>
  <PresentationFormat>Personalizado</PresentationFormat>
  <Paragraphs>42</Paragraphs>
  <Slides>3</Slides>
  <Notes>3</Notes>
  <HiddenSlides>0</HiddenSlides>
  <MMClips>0</MMClips>
  <ScaleCrop>false</ScaleCrop>
  <HeadingPairs>
    <vt:vector size="8" baseType="variant">
      <vt:variant>
        <vt:lpstr>Fue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</vt:i4>
      </vt:variant>
    </vt:vector>
  </HeadingPairs>
  <TitlesOfParts>
    <vt:vector size="11" baseType="lpstr">
      <vt:lpstr>Wingdings</vt:lpstr>
      <vt:lpstr>Titillium Web Bold</vt:lpstr>
      <vt:lpstr>Bebas Neue</vt:lpstr>
      <vt:lpstr>Arial</vt:lpstr>
      <vt:lpstr>Calibri</vt:lpstr>
      <vt:lpstr>Aptos</vt:lpstr>
      <vt:lpstr>Office Theme</vt:lpstr>
      <vt:lpstr>Diapositiva de think-cell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amUp</dc:title>
  <dc:creator>Paulina Nowotka</dc:creator>
  <cp:lastModifiedBy>Vikesh Chugani</cp:lastModifiedBy>
  <cp:revision>40</cp:revision>
  <dcterms:created xsi:type="dcterms:W3CDTF">2006-08-16T00:00:00Z</dcterms:created>
  <dcterms:modified xsi:type="dcterms:W3CDTF">2024-08-20T09:20:53Z</dcterms:modified>
  <dc:identifier>DAGIHpOa55U</dc:identifier>
</cp:coreProperties>
</file>